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4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5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6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7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8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9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10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11.xml" ContentType="application/vnd.openxmlformats-officedocument.theme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theme/theme1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theme/theme14.xml" ContentType="application/vnd.openxmlformats-officedocument.theme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theme/theme15.xml" ContentType="application/vnd.openxmlformats-officedocument.theme+xml"/>
  <Override PartName="/ppt/theme/theme16.xml" ContentType="application/vnd.openxmlformats-officedocument.theme+xml"/>
  <Override PartName="/ppt/theme/theme1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2" r:id="rId2"/>
    <p:sldMasterId id="2147484387" r:id="rId3"/>
    <p:sldMasterId id="2147484494" r:id="rId4"/>
    <p:sldMasterId id="2147484615" r:id="rId5"/>
    <p:sldMasterId id="2147484627" r:id="rId6"/>
    <p:sldMasterId id="2147484667" r:id="rId7"/>
    <p:sldMasterId id="2147484679" r:id="rId8"/>
    <p:sldMasterId id="2147485248" r:id="rId9"/>
    <p:sldMasterId id="2147485260" r:id="rId10"/>
    <p:sldMasterId id="2147485272" r:id="rId11"/>
    <p:sldMasterId id="2147485298" r:id="rId12"/>
    <p:sldMasterId id="2147485317" r:id="rId13"/>
    <p:sldMasterId id="2147485419" r:id="rId14"/>
    <p:sldMasterId id="2147485483" r:id="rId15"/>
    <p:sldMasterId id="2147485616" r:id="rId16"/>
  </p:sldMasterIdLst>
  <p:notesMasterIdLst>
    <p:notesMasterId r:id="rId24"/>
  </p:notesMasterIdLst>
  <p:handoutMasterIdLst>
    <p:handoutMasterId r:id="rId25"/>
  </p:handoutMasterIdLst>
  <p:sldIdLst>
    <p:sldId id="399" r:id="rId17"/>
    <p:sldId id="400" r:id="rId18"/>
    <p:sldId id="402" r:id="rId19"/>
    <p:sldId id="401" r:id="rId20"/>
    <p:sldId id="403" r:id="rId21"/>
    <p:sldId id="404" r:id="rId22"/>
    <p:sldId id="405" r:id="rId23"/>
  </p:sldIdLst>
  <p:sldSz cx="9144000" cy="6858000" type="screen4x3"/>
  <p:notesSz cx="7010400" cy="9296400"/>
  <p:custDataLst>
    <p:tags r:id="rId2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6354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2714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69077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542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1780" algn="l" defTabSz="912714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38136" algn="l" defTabSz="912714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194492" algn="l" defTabSz="912714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0846" algn="l" defTabSz="912714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176">
          <p15:clr>
            <a:srgbClr val="A4A3A4"/>
          </p15:clr>
        </p15:guide>
        <p15:guide id="2" orient="horz" pos="867">
          <p15:clr>
            <a:srgbClr val="A4A3A4"/>
          </p15:clr>
        </p15:guide>
        <p15:guide id="3" orient="horz" pos="2484">
          <p15:clr>
            <a:srgbClr val="A4A3A4"/>
          </p15:clr>
        </p15:guide>
        <p15:guide id="4" orient="horz" pos="720">
          <p15:clr>
            <a:srgbClr val="A4A3A4"/>
          </p15:clr>
        </p15:guide>
        <p15:guide id="5" pos="2880">
          <p15:clr>
            <a:srgbClr val="A4A3A4"/>
          </p15:clr>
        </p15:guide>
        <p15:guide id="6" pos="273">
          <p15:clr>
            <a:srgbClr val="A4A3A4"/>
          </p15:clr>
        </p15:guide>
        <p15:guide id="7" pos="555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77C"/>
    <a:srgbClr val="37424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34567" autoAdjust="0"/>
    <p:restoredTop sz="79370" autoAdjust="0"/>
  </p:normalViewPr>
  <p:slideViewPr>
    <p:cSldViewPr snapToGrid="0">
      <p:cViewPr varScale="1">
        <p:scale>
          <a:sx n="108" d="100"/>
          <a:sy n="108" d="100"/>
        </p:scale>
        <p:origin x="1596" y="114"/>
      </p:cViewPr>
      <p:guideLst>
        <p:guide orient="horz" pos="4176"/>
        <p:guide orient="horz" pos="867"/>
        <p:guide orient="horz" pos="2484"/>
        <p:guide orient="horz" pos="720"/>
        <p:guide pos="2880"/>
        <p:guide pos="273"/>
        <p:guide pos="5550"/>
      </p:guideLst>
    </p:cSldViewPr>
  </p:slideViewPr>
  <p:outlineViewPr>
    <p:cViewPr>
      <p:scale>
        <a:sx n="33" d="100"/>
        <a:sy n="33" d="100"/>
      </p:scale>
      <p:origin x="48" y="714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66" d="100"/>
          <a:sy n="166" d="100"/>
        </p:scale>
        <p:origin x="-1086" y="1308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7.xml"/><Relationship Id="rId13" Type="http://schemas.openxmlformats.org/officeDocument/2006/relationships/slideMaster" Target="slideMasters/slideMaster12.xml"/><Relationship Id="rId18" Type="http://schemas.openxmlformats.org/officeDocument/2006/relationships/slide" Target="slides/slide2.xml"/><Relationship Id="rId26" Type="http://schemas.openxmlformats.org/officeDocument/2006/relationships/tags" Target="tags/tag1.xml"/><Relationship Id="rId3" Type="http://schemas.openxmlformats.org/officeDocument/2006/relationships/slideMaster" Target="slideMasters/slideMaster2.xml"/><Relationship Id="rId21" Type="http://schemas.openxmlformats.org/officeDocument/2006/relationships/slide" Target="slides/slide5.xml"/><Relationship Id="rId7" Type="http://schemas.openxmlformats.org/officeDocument/2006/relationships/slideMaster" Target="slideMasters/slideMaster6.xml"/><Relationship Id="rId12" Type="http://schemas.openxmlformats.org/officeDocument/2006/relationships/slideMaster" Target="slideMasters/slideMaster11.xml"/><Relationship Id="rId17" Type="http://schemas.openxmlformats.org/officeDocument/2006/relationships/slide" Target="slides/slide1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1.xml"/><Relationship Id="rId16" Type="http://schemas.openxmlformats.org/officeDocument/2006/relationships/slideMaster" Target="slideMasters/slideMaster15.xml"/><Relationship Id="rId20" Type="http://schemas.openxmlformats.org/officeDocument/2006/relationships/slide" Target="slides/slide4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5.xml"/><Relationship Id="rId11" Type="http://schemas.openxmlformats.org/officeDocument/2006/relationships/slideMaster" Target="slideMasters/slideMaster10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4.xml"/><Relationship Id="rId15" Type="http://schemas.openxmlformats.org/officeDocument/2006/relationships/slideMaster" Target="slideMasters/slideMaster14.xml"/><Relationship Id="rId23" Type="http://schemas.openxmlformats.org/officeDocument/2006/relationships/slide" Target="slides/slide7.xml"/><Relationship Id="rId28" Type="http://schemas.openxmlformats.org/officeDocument/2006/relationships/viewProps" Target="viewProps.xml"/><Relationship Id="rId10" Type="http://schemas.openxmlformats.org/officeDocument/2006/relationships/slideMaster" Target="slideMasters/slideMaster9.xml"/><Relationship Id="rId19" Type="http://schemas.openxmlformats.org/officeDocument/2006/relationships/slide" Target="slides/slide3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3.xml"/><Relationship Id="rId9" Type="http://schemas.openxmlformats.org/officeDocument/2006/relationships/slideMaster" Target="slideMasters/slideMaster8.xml"/><Relationship Id="rId14" Type="http://schemas.openxmlformats.org/officeDocument/2006/relationships/slideMaster" Target="slideMasters/slideMaster13.xml"/><Relationship Id="rId22" Type="http://schemas.openxmlformats.org/officeDocument/2006/relationships/slide" Target="slides/slide6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urugan, Senthil" userId="e6883651-b919-4e64-985b-40f58d687b81" providerId="ADAL" clId="{9ADDC016-3B21-4573-8F10-0D2D30B19C4F}"/>
    <pc:docChg chg="undo custSel addSld modSld sldOrd modMainMaster">
      <pc:chgData name="Murugan, Senthil" userId="e6883651-b919-4e64-985b-40f58d687b81" providerId="ADAL" clId="{9ADDC016-3B21-4573-8F10-0D2D30B19C4F}" dt="2019-12-04T18:08:41.353" v="4692"/>
      <pc:docMkLst>
        <pc:docMk/>
      </pc:docMkLst>
      <pc:sldChg chg="delSp">
        <pc:chgData name="Murugan, Senthil" userId="e6883651-b919-4e64-985b-40f58d687b81" providerId="ADAL" clId="{9ADDC016-3B21-4573-8F10-0D2D30B19C4F}" dt="2019-12-04T17:51:01.436" v="4239"/>
        <pc:sldMkLst>
          <pc:docMk/>
          <pc:sldMk cId="2402762978" sldId="399"/>
        </pc:sldMkLst>
        <pc:picChg chg="del">
          <ac:chgData name="Murugan, Senthil" userId="e6883651-b919-4e64-985b-40f58d687b81" providerId="ADAL" clId="{9ADDC016-3B21-4573-8F10-0D2D30B19C4F}" dt="2019-12-04T17:51:01.436" v="4239"/>
          <ac:picMkLst>
            <pc:docMk/>
            <pc:sldMk cId="2402762978" sldId="399"/>
            <ac:picMk id="19460" creationId="{00000000-0000-0000-0000-000000000000}"/>
          </ac:picMkLst>
        </pc:picChg>
      </pc:sldChg>
      <pc:sldChg chg="addSp delSp modSp add ord">
        <pc:chgData name="Murugan, Senthil" userId="e6883651-b919-4e64-985b-40f58d687b81" providerId="ADAL" clId="{9ADDC016-3B21-4573-8F10-0D2D30B19C4F}" dt="2019-12-04T17:50:55.018" v="4230" actId="1076"/>
        <pc:sldMkLst>
          <pc:docMk/>
          <pc:sldMk cId="953722704" sldId="401"/>
        </pc:sldMkLst>
        <pc:spChg chg="mod">
          <ac:chgData name="Murugan, Senthil" userId="e6883651-b919-4e64-985b-40f58d687b81" providerId="ADAL" clId="{9ADDC016-3B21-4573-8F10-0D2D30B19C4F}" dt="2019-12-04T17:13:30.505" v="2561" actId="20577"/>
          <ac:spMkLst>
            <pc:docMk/>
            <pc:sldMk cId="953722704" sldId="401"/>
            <ac:spMk id="2" creationId="{00000000-0000-0000-0000-000000000000}"/>
          </ac:spMkLst>
        </pc:spChg>
        <pc:spChg chg="mod">
          <ac:chgData name="Murugan, Senthil" userId="e6883651-b919-4e64-985b-40f58d687b81" providerId="ADAL" clId="{9ADDC016-3B21-4573-8F10-0D2D30B19C4F}" dt="2019-12-04T17:50:55.018" v="4230" actId="1076"/>
          <ac:spMkLst>
            <pc:docMk/>
            <pc:sldMk cId="953722704" sldId="401"/>
            <ac:spMk id="3" creationId="{00000000-0000-0000-0000-000000000000}"/>
          </ac:spMkLst>
        </pc:spChg>
        <pc:spChg chg="add del">
          <ac:chgData name="Murugan, Senthil" userId="e6883651-b919-4e64-985b-40f58d687b81" providerId="ADAL" clId="{9ADDC016-3B21-4573-8F10-0D2D30B19C4F}" dt="2019-12-04T17:11:46.680" v="2496" actId="478"/>
          <ac:spMkLst>
            <pc:docMk/>
            <pc:sldMk cId="953722704" sldId="401"/>
            <ac:spMk id="5" creationId="{B57EE4A2-0408-49AD-829B-F7F074DF6044}"/>
          </ac:spMkLst>
        </pc:spChg>
      </pc:sldChg>
      <pc:sldChg chg="modSp add">
        <pc:chgData name="Murugan, Senthil" userId="e6883651-b919-4e64-985b-40f58d687b81" providerId="ADAL" clId="{9ADDC016-3B21-4573-8F10-0D2D30B19C4F}" dt="2019-12-04T17:15:05.847" v="2574" actId="20577"/>
        <pc:sldMkLst>
          <pc:docMk/>
          <pc:sldMk cId="1655045466" sldId="402"/>
        </pc:sldMkLst>
        <pc:spChg chg="mod">
          <ac:chgData name="Murugan, Senthil" userId="e6883651-b919-4e64-985b-40f58d687b81" providerId="ADAL" clId="{9ADDC016-3B21-4573-8F10-0D2D30B19C4F}" dt="2019-12-04T17:13:36.135" v="2562" actId="6549"/>
          <ac:spMkLst>
            <pc:docMk/>
            <pc:sldMk cId="1655045466" sldId="402"/>
            <ac:spMk id="2" creationId="{00000000-0000-0000-0000-000000000000}"/>
          </ac:spMkLst>
        </pc:spChg>
        <pc:spChg chg="mod">
          <ac:chgData name="Murugan, Senthil" userId="e6883651-b919-4e64-985b-40f58d687b81" providerId="ADAL" clId="{9ADDC016-3B21-4573-8F10-0D2D30B19C4F}" dt="2019-12-04T17:15:05.847" v="2574" actId="20577"/>
          <ac:spMkLst>
            <pc:docMk/>
            <pc:sldMk cId="1655045466" sldId="402"/>
            <ac:spMk id="3" creationId="{00000000-0000-0000-0000-000000000000}"/>
          </ac:spMkLst>
        </pc:spChg>
      </pc:sldChg>
      <pc:sldChg chg="addSp delSp modSp add">
        <pc:chgData name="Murugan, Senthil" userId="e6883651-b919-4e64-985b-40f58d687b81" providerId="ADAL" clId="{9ADDC016-3B21-4573-8F10-0D2D30B19C4F}" dt="2019-12-04T18:06:54.183" v="4649" actId="255"/>
        <pc:sldMkLst>
          <pc:docMk/>
          <pc:sldMk cId="452956560" sldId="403"/>
        </pc:sldMkLst>
        <pc:spChg chg="mod">
          <ac:chgData name="Murugan, Senthil" userId="e6883651-b919-4e64-985b-40f58d687b81" providerId="ADAL" clId="{9ADDC016-3B21-4573-8F10-0D2D30B19C4F}" dt="2019-12-04T17:51:35.890" v="4264" actId="6549"/>
          <ac:spMkLst>
            <pc:docMk/>
            <pc:sldMk cId="452956560" sldId="403"/>
            <ac:spMk id="2" creationId="{00000000-0000-0000-0000-000000000000}"/>
          </ac:spMkLst>
        </pc:spChg>
        <pc:spChg chg="del mod">
          <ac:chgData name="Murugan, Senthil" userId="e6883651-b919-4e64-985b-40f58d687b81" providerId="ADAL" clId="{9ADDC016-3B21-4573-8F10-0D2D30B19C4F}" dt="2019-12-04T17:53:03.600" v="4266" actId="3680"/>
          <ac:spMkLst>
            <pc:docMk/>
            <pc:sldMk cId="452956560" sldId="403"/>
            <ac:spMk id="3" creationId="{00000000-0000-0000-0000-000000000000}"/>
          </ac:spMkLst>
        </pc:spChg>
        <pc:graphicFrameChg chg="add mod modGraphic">
          <ac:chgData name="Murugan, Senthil" userId="e6883651-b919-4e64-985b-40f58d687b81" providerId="ADAL" clId="{9ADDC016-3B21-4573-8F10-0D2D30B19C4F}" dt="2019-12-04T18:06:54.183" v="4649" actId="255"/>
          <ac:graphicFrameMkLst>
            <pc:docMk/>
            <pc:sldMk cId="452956560" sldId="403"/>
            <ac:graphicFrameMk id="5" creationId="{C0FFAAE3-5124-4F4D-9ABB-BA2FDDCC2283}"/>
          </ac:graphicFrameMkLst>
        </pc:graphicFrameChg>
      </pc:sldChg>
      <pc:sldChg chg="modSp add">
        <pc:chgData name="Murugan, Senthil" userId="e6883651-b919-4e64-985b-40f58d687b81" providerId="ADAL" clId="{9ADDC016-3B21-4573-8F10-0D2D30B19C4F}" dt="2019-12-04T18:07:57.301" v="4677" actId="6549"/>
        <pc:sldMkLst>
          <pc:docMk/>
          <pc:sldMk cId="995334219" sldId="404"/>
        </pc:sldMkLst>
        <pc:spChg chg="mod">
          <ac:chgData name="Murugan, Senthil" userId="e6883651-b919-4e64-985b-40f58d687b81" providerId="ADAL" clId="{9ADDC016-3B21-4573-8F10-0D2D30B19C4F}" dt="2019-12-04T18:07:45.518" v="4676" actId="20577"/>
          <ac:spMkLst>
            <pc:docMk/>
            <pc:sldMk cId="995334219" sldId="404"/>
            <ac:spMk id="2" creationId="{00000000-0000-0000-0000-000000000000}"/>
          </ac:spMkLst>
        </pc:spChg>
        <pc:spChg chg="mod">
          <ac:chgData name="Murugan, Senthil" userId="e6883651-b919-4e64-985b-40f58d687b81" providerId="ADAL" clId="{9ADDC016-3B21-4573-8F10-0D2D30B19C4F}" dt="2019-12-04T18:07:57.301" v="4677" actId="6549"/>
          <ac:spMkLst>
            <pc:docMk/>
            <pc:sldMk cId="995334219" sldId="404"/>
            <ac:spMk id="3" creationId="{00000000-0000-0000-0000-000000000000}"/>
          </ac:spMkLst>
        </pc:spChg>
      </pc:sldChg>
      <pc:sldChg chg="modSp add">
        <pc:chgData name="Murugan, Senthil" userId="e6883651-b919-4e64-985b-40f58d687b81" providerId="ADAL" clId="{9ADDC016-3B21-4573-8F10-0D2D30B19C4F}" dt="2019-12-04T18:08:12.188" v="4682" actId="6549"/>
        <pc:sldMkLst>
          <pc:docMk/>
          <pc:sldMk cId="4070677420" sldId="405"/>
        </pc:sldMkLst>
        <pc:spChg chg="mod">
          <ac:chgData name="Murugan, Senthil" userId="e6883651-b919-4e64-985b-40f58d687b81" providerId="ADAL" clId="{9ADDC016-3B21-4573-8F10-0D2D30B19C4F}" dt="2019-12-04T18:08:07.343" v="4681" actId="20577"/>
          <ac:spMkLst>
            <pc:docMk/>
            <pc:sldMk cId="4070677420" sldId="405"/>
            <ac:spMk id="2" creationId="{00000000-0000-0000-0000-000000000000}"/>
          </ac:spMkLst>
        </pc:spChg>
        <pc:spChg chg="mod">
          <ac:chgData name="Murugan, Senthil" userId="e6883651-b919-4e64-985b-40f58d687b81" providerId="ADAL" clId="{9ADDC016-3B21-4573-8F10-0D2D30B19C4F}" dt="2019-12-04T18:08:12.188" v="4682" actId="6549"/>
          <ac:spMkLst>
            <pc:docMk/>
            <pc:sldMk cId="4070677420" sldId="405"/>
            <ac:spMk id="3" creationId="{00000000-0000-0000-0000-000000000000}"/>
          </ac:spMkLst>
        </pc:spChg>
      </pc:sldChg>
      <pc:sldMasterChg chg="modSldLayout">
        <pc:chgData name="Murugan, Senthil" userId="e6883651-b919-4e64-985b-40f58d687b81" providerId="ADAL" clId="{9ADDC016-3B21-4573-8F10-0D2D30B19C4F}" dt="2019-12-04T18:08:41.353" v="4692"/>
        <pc:sldMasterMkLst>
          <pc:docMk/>
          <pc:sldMasterMk cId="2369784521" sldId="2147485616"/>
        </pc:sldMasterMkLst>
        <pc:sldLayoutChg chg="addSp delSp modSp">
          <pc:chgData name="Murugan, Senthil" userId="e6883651-b919-4e64-985b-40f58d687b81" providerId="ADAL" clId="{9ADDC016-3B21-4573-8F10-0D2D30B19C4F}" dt="2019-12-04T18:08:41.353" v="4692"/>
          <pc:sldLayoutMkLst>
            <pc:docMk/>
            <pc:sldMasterMk cId="2369784521" sldId="2147485616"/>
            <pc:sldLayoutMk cId="752712323" sldId="2147485618"/>
          </pc:sldLayoutMkLst>
          <pc:picChg chg="add del mod ord">
            <ac:chgData name="Murugan, Senthil" userId="e6883651-b919-4e64-985b-40f58d687b81" providerId="ADAL" clId="{9ADDC016-3B21-4573-8F10-0D2D30B19C4F}" dt="2019-12-04T17:51:24.536" v="4242"/>
            <ac:picMkLst>
              <pc:docMk/>
              <pc:sldMasterMk cId="2369784521" sldId="2147485616"/>
              <pc:sldLayoutMk cId="752712323" sldId="2147485618"/>
              <ac:picMk id="6" creationId="{4F7FBFC3-6574-4BAE-832B-B7714A8C92A4}"/>
            </ac:picMkLst>
          </pc:picChg>
          <pc:picChg chg="add del mod ord">
            <ac:chgData name="Murugan, Senthil" userId="e6883651-b919-4e64-985b-40f58d687b81" providerId="ADAL" clId="{9ADDC016-3B21-4573-8F10-0D2D30B19C4F}" dt="2019-12-04T18:07:07.702" v="4651"/>
            <ac:picMkLst>
              <pc:docMk/>
              <pc:sldMasterMk cId="2369784521" sldId="2147485616"/>
              <pc:sldLayoutMk cId="752712323" sldId="2147485618"/>
              <ac:picMk id="8" creationId="{91E1F853-A10A-4FC0-A6F5-5362765D9BEE}"/>
            </ac:picMkLst>
          </pc:picChg>
          <pc:picChg chg="add del mod ord">
            <ac:chgData name="Murugan, Senthil" userId="e6883651-b919-4e64-985b-40f58d687b81" providerId="ADAL" clId="{9ADDC016-3B21-4573-8F10-0D2D30B19C4F}" dt="2019-12-04T18:07:40.846" v="4662"/>
            <ac:picMkLst>
              <pc:docMk/>
              <pc:sldMasterMk cId="2369784521" sldId="2147485616"/>
              <pc:sldLayoutMk cId="752712323" sldId="2147485618"/>
              <ac:picMk id="10" creationId="{0512621D-4DE4-4448-B091-7B6DB46C7926}"/>
            </ac:picMkLst>
          </pc:picChg>
          <pc:picChg chg="add del mod ord">
            <ac:chgData name="Murugan, Senthil" userId="e6883651-b919-4e64-985b-40f58d687b81" providerId="ADAL" clId="{9ADDC016-3B21-4573-8F10-0D2D30B19C4F}" dt="2019-12-04T18:08:41.337" v="4684"/>
            <ac:picMkLst>
              <pc:docMk/>
              <pc:sldMasterMk cId="2369784521" sldId="2147485616"/>
              <pc:sldLayoutMk cId="752712323" sldId="2147485618"/>
              <ac:picMk id="12" creationId="{DD21C6FD-7876-4FB5-9792-8A347B9A5B45}"/>
            </ac:picMkLst>
          </pc:picChg>
          <pc:picChg chg="add mod ord">
            <ac:chgData name="Murugan, Senthil" userId="e6883651-b919-4e64-985b-40f58d687b81" providerId="ADAL" clId="{9ADDC016-3B21-4573-8F10-0D2D30B19C4F}" dt="2019-12-04T18:08:41.353" v="4692"/>
            <ac:picMkLst>
              <pc:docMk/>
              <pc:sldMasterMk cId="2369784521" sldId="2147485616"/>
              <pc:sldLayoutMk cId="752712323" sldId="2147485618"/>
              <ac:picMk id="14" creationId="{8178EBFE-3C47-454F-A906-F562E16E499B}"/>
            </ac:picMkLst>
          </pc:picChg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w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png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w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3B868A01-18F1-405F-9685-355E3CF68701}" type="datetimeFigureOut">
              <a:rPr lang="en-US"/>
              <a:pPr>
                <a:defRPr/>
              </a:pPr>
              <a:t>12/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D2FBCA88-7166-44BB-924F-1BE9DAF5EBC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50545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3FC7EDC4-D4F2-4831-B40E-9A92549B31E6}" type="datetimeFigureOut">
              <a:rPr lang="en-US"/>
              <a:pPr>
                <a:defRPr/>
              </a:pPr>
              <a:t>12/4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16425"/>
            <a:ext cx="5607050" cy="4183063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C7141C47-4CBF-4034-84E0-3A14F81F36B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7429934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35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271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69077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5426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1780" algn="l" defTabSz="91271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8136" algn="l" defTabSz="91271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4492" algn="l" defTabSz="91271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0846" algn="l" defTabSz="91271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1507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charset="0"/>
              <a:cs typeface="Arial" charset="0"/>
            </a:endParaRPr>
          </a:p>
        </p:txBody>
      </p:sp>
      <p:sp>
        <p:nvSpPr>
          <p:cNvPr id="21508" name="Header Placeholder 3"/>
          <p:cNvSpPr>
            <a:spLocks noGrp="1"/>
          </p:cNvSpPr>
          <p:nvPr>
            <p:ph type="hdr" sz="quarter"/>
          </p:nvPr>
        </p:nvSpPr>
        <p:spPr>
          <a:noFill/>
        </p:spPr>
        <p:txBody>
          <a:bodyPr/>
          <a:lstStyle>
            <a:lvl1pPr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4588" indent="-22860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1788" indent="-22860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8988" indent="-22860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61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33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305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77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21509" name="Footer Placeholder 4"/>
          <p:cNvSpPr>
            <a:spLocks noGrp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4588" indent="-22860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1788" indent="-22860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8988" indent="-22860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61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33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305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77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21510" name="Slide Number Placeholder 5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4588" indent="-22860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1788" indent="-22860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8988" indent="-22860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61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33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305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77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95D9627F-BA26-4604-AEC2-CE64E9BA2AA0}" type="slidenum">
              <a:rPr lang="en-US" altLang="en-US">
                <a:solidFill>
                  <a:prstClr val="black"/>
                </a:solidFill>
              </a:rPr>
              <a:pPr eaLnBrk="1" hangingPunct="1">
                <a:spcBef>
                  <a:spcPct val="0"/>
                </a:spcBef>
              </a:pPr>
              <a:t>1</a:t>
            </a:fld>
            <a:endParaRPr lang="en-US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7141C47-4CBF-4034-84E0-3A14F81F36BD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37827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7141C47-4CBF-4034-84E0-3A14F81F36BD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60153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7141C47-4CBF-4034-84E0-3A14F81F36BD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047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7141C47-4CBF-4034-84E0-3A14F81F36BD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79785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7141C47-4CBF-4034-84E0-3A14F81F36BD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6923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7141C47-4CBF-4034-84E0-3A14F81F36BD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08293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6.png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7" Type="http://schemas.openxmlformats.org/officeDocument/2006/relationships/image" Target="../media/image16.png"/><Relationship Id="rId2" Type="http://schemas.openxmlformats.org/officeDocument/2006/relationships/slideMaster" Target="../slideMasters/slideMaster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1.png"/><Relationship Id="rId5" Type="http://schemas.openxmlformats.org/officeDocument/2006/relationships/image" Target="../media/image19.png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2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8.wmf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3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3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3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3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3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3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24.pn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0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9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0.png"/><Relationship Id="rId5" Type="http://schemas.openxmlformats.org/officeDocument/2006/relationships/image" Target="../media/image32.emf"/><Relationship Id="rId4" Type="http://schemas.openxmlformats.org/officeDocument/2006/relationships/oleObject" Target="../embeddings/oleObject10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24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0.png"/><Relationship Id="rId5" Type="http://schemas.openxmlformats.org/officeDocument/2006/relationships/image" Target="../media/image32.emf"/><Relationship Id="rId4" Type="http://schemas.openxmlformats.org/officeDocument/2006/relationships/oleObject" Target="../embeddings/oleObject11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3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3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2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8.wmf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0" y="159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0" y="159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30"/>
          <a:stretch>
            <a:fillRect/>
          </a:stretch>
        </p:blipFill>
        <p:spPr bwMode="auto">
          <a:xfrm>
            <a:off x="4" y="0"/>
            <a:ext cx="8613775" cy="1201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8801" y="6477000"/>
            <a:ext cx="9652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17"/>
          <p:cNvGrpSpPr>
            <a:grpSpLocks/>
          </p:cNvGrpSpPr>
          <p:nvPr/>
        </p:nvGrpSpPr>
        <p:grpSpPr bwMode="auto">
          <a:xfrm>
            <a:off x="7543801" y="228600"/>
            <a:ext cx="1511300" cy="1066800"/>
            <a:chOff x="7543800" y="228600"/>
            <a:chExt cx="1511665" cy="1066800"/>
          </a:xfrm>
        </p:grpSpPr>
        <p:sp>
          <p:nvSpPr>
            <p:cNvPr id="7" name="Freeform 6"/>
            <p:cNvSpPr/>
            <p:nvPr/>
          </p:nvSpPr>
          <p:spPr>
            <a:xfrm rot="10800000">
              <a:off x="8305984" y="838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8" name="Freeform 7"/>
            <p:cNvSpPr/>
            <p:nvPr/>
          </p:nvSpPr>
          <p:spPr>
            <a:xfrm rot="10800000">
              <a:off x="7848674" y="457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68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9" name="Freeform 8"/>
            <p:cNvSpPr/>
            <p:nvPr/>
          </p:nvSpPr>
          <p:spPr>
            <a:xfrm rot="10800000">
              <a:off x="7543800" y="6858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0" name="Freeform 9"/>
            <p:cNvSpPr/>
            <p:nvPr/>
          </p:nvSpPr>
          <p:spPr>
            <a:xfrm rot="10800000">
              <a:off x="8534639" y="5334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1" name="Freeform 10"/>
            <p:cNvSpPr/>
            <p:nvPr/>
          </p:nvSpPr>
          <p:spPr>
            <a:xfrm rot="10800000">
              <a:off x="8229766" y="2286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</p:grpSp>
      <p:sp>
        <p:nvSpPr>
          <p:cNvPr id="12" name="TextBox 4"/>
          <p:cNvSpPr txBox="1">
            <a:spLocks noChangeArrowheads="1"/>
          </p:cNvSpPr>
          <p:nvPr/>
        </p:nvSpPr>
        <p:spPr bwMode="auto">
          <a:xfrm>
            <a:off x="4144976" y="6477018"/>
            <a:ext cx="371874" cy="276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42" rIns="91270" bIns="45642">
            <a:spAutoFit/>
          </a:bodyPr>
          <a:lstStyle>
            <a:lvl1pPr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D4F991C9-B7B3-4C88-96D6-AB9A80EC52B4}" type="slidenum">
              <a:rPr lang="en-US" altLang="en-US" sz="1200" smtClean="0">
                <a:solidFill>
                  <a:srgbClr val="37424A"/>
                </a:solidFill>
              </a:rPr>
              <a:pPr eaLnBrk="1" hangingPunct="1">
                <a:defRPr/>
              </a:pPr>
              <a:t>‹#›</a:t>
            </a:fld>
            <a:endParaRPr lang="en-US" altLang="en-US" sz="1200">
              <a:solidFill>
                <a:srgbClr val="37424A"/>
              </a:solidFill>
            </a:endParaRPr>
          </a:p>
        </p:txBody>
      </p:sp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7543801" y="228600"/>
            <a:ext cx="1511300" cy="1066800"/>
            <a:chOff x="7543800" y="228600"/>
            <a:chExt cx="1511665" cy="1066800"/>
          </a:xfrm>
        </p:grpSpPr>
        <p:sp>
          <p:nvSpPr>
            <p:cNvPr id="14" name="Freeform 13"/>
            <p:cNvSpPr/>
            <p:nvPr/>
          </p:nvSpPr>
          <p:spPr>
            <a:xfrm rot="10800000">
              <a:off x="8305984" y="838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5" name="Freeform 14"/>
            <p:cNvSpPr/>
            <p:nvPr/>
          </p:nvSpPr>
          <p:spPr>
            <a:xfrm rot="10800000">
              <a:off x="7848674" y="457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68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6" name="Freeform 15"/>
            <p:cNvSpPr/>
            <p:nvPr/>
          </p:nvSpPr>
          <p:spPr>
            <a:xfrm rot="10800000">
              <a:off x="7543800" y="6858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7" name="Freeform 16"/>
            <p:cNvSpPr/>
            <p:nvPr/>
          </p:nvSpPr>
          <p:spPr>
            <a:xfrm rot="10800000">
              <a:off x="8534639" y="5334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8" name="Freeform 17"/>
            <p:cNvSpPr/>
            <p:nvPr/>
          </p:nvSpPr>
          <p:spPr>
            <a:xfrm rot="10800000">
              <a:off x="8229766" y="2286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7620000" cy="1066800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53599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238C1C-6DF9-4A8D-8485-1CAFF359B0F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5643948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B335D9-CAAD-45FE-B3F8-A7E8C76685DA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991799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57881E-53D6-4C15-B8C5-36CA237F5948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617804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3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3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3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46" indent="0">
              <a:buNone/>
              <a:defRPr sz="1200"/>
            </a:lvl2pPr>
            <a:lvl3pPr marL="914292" indent="0">
              <a:buNone/>
              <a:defRPr sz="1000"/>
            </a:lvl3pPr>
            <a:lvl4pPr marL="1371437" indent="0">
              <a:buNone/>
              <a:defRPr sz="900"/>
            </a:lvl4pPr>
            <a:lvl5pPr marL="1828583" indent="0">
              <a:buNone/>
              <a:defRPr sz="900"/>
            </a:lvl5pPr>
            <a:lvl6pPr marL="2285729" indent="0">
              <a:buNone/>
              <a:defRPr sz="900"/>
            </a:lvl6pPr>
            <a:lvl7pPr marL="2742875" indent="0">
              <a:buNone/>
              <a:defRPr sz="900"/>
            </a:lvl7pPr>
            <a:lvl8pPr marL="3200021" indent="0">
              <a:buNone/>
              <a:defRPr sz="900"/>
            </a:lvl8pPr>
            <a:lvl9pPr marL="365716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71E37C-B2E0-4D0C-8BE2-907D9F221CB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417333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300"/>
            </a:lvl1pPr>
            <a:lvl2pPr marL="457146" indent="0">
              <a:buNone/>
              <a:defRPr sz="2800"/>
            </a:lvl2pPr>
            <a:lvl3pPr marL="914292" indent="0">
              <a:buNone/>
              <a:defRPr sz="2400"/>
            </a:lvl3pPr>
            <a:lvl4pPr marL="1371437" indent="0">
              <a:buNone/>
              <a:defRPr sz="2000"/>
            </a:lvl4pPr>
            <a:lvl5pPr marL="1828583" indent="0">
              <a:buNone/>
              <a:defRPr sz="2000"/>
            </a:lvl5pPr>
            <a:lvl6pPr marL="2285729" indent="0">
              <a:buNone/>
              <a:defRPr sz="2000"/>
            </a:lvl6pPr>
            <a:lvl7pPr marL="2742875" indent="0">
              <a:buNone/>
              <a:defRPr sz="2000"/>
            </a:lvl7pPr>
            <a:lvl8pPr marL="3200021" indent="0">
              <a:buNone/>
              <a:defRPr sz="2000"/>
            </a:lvl8pPr>
            <a:lvl9pPr marL="3657166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6" indent="0">
              <a:buNone/>
              <a:defRPr sz="1200"/>
            </a:lvl2pPr>
            <a:lvl3pPr marL="914292" indent="0">
              <a:buNone/>
              <a:defRPr sz="1000"/>
            </a:lvl3pPr>
            <a:lvl4pPr marL="1371437" indent="0">
              <a:buNone/>
              <a:defRPr sz="900"/>
            </a:lvl4pPr>
            <a:lvl5pPr marL="1828583" indent="0">
              <a:buNone/>
              <a:defRPr sz="900"/>
            </a:lvl5pPr>
            <a:lvl6pPr marL="2285729" indent="0">
              <a:buNone/>
              <a:defRPr sz="900"/>
            </a:lvl6pPr>
            <a:lvl7pPr marL="2742875" indent="0">
              <a:buNone/>
              <a:defRPr sz="900"/>
            </a:lvl7pPr>
            <a:lvl8pPr marL="3200021" indent="0">
              <a:buNone/>
              <a:defRPr sz="900"/>
            </a:lvl8pPr>
            <a:lvl9pPr marL="365716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6649CB-5D5B-4DE6-8055-A9A41BDC076C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82910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91EE08-CA31-4477-A217-7AD8C2A58BAF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739604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0"/>
            <a:ext cx="2095500" cy="61261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0"/>
            <a:ext cx="6134100" cy="61261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1200D2-FAC8-45CE-AAFA-3204439B2BF5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127465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0378" y="2768902"/>
            <a:ext cx="8131175" cy="467820"/>
          </a:xfrm>
        </p:spPr>
        <p:txBody>
          <a:bodyPr wrap="square" tIns="0" rIns="0" bIns="0" anchor="b" anchorCtr="0">
            <a:spAutoFit/>
          </a:bodyPr>
          <a:lstStyle>
            <a:lvl1pPr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altLang="en-US" noProof="0" dirty="0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0377" y="3272091"/>
            <a:ext cx="8131176" cy="309315"/>
          </a:xfrm>
        </p:spPr>
        <p:txBody>
          <a:bodyPr wrap="square" tIns="0" rIns="0">
            <a:sp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altLang="en-US" noProof="0" dirty="0"/>
              <a:t>Click to edit Master subtitle style</a:t>
            </a:r>
          </a:p>
        </p:txBody>
      </p:sp>
      <p:pic>
        <p:nvPicPr>
          <p:cNvPr id="6" name="Picture 5" descr="merck_be_well_white.ep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1807" y="6356256"/>
            <a:ext cx="998361" cy="304788"/>
          </a:xfrm>
          <a:prstGeom prst="rect">
            <a:avLst/>
          </a:prstGeom>
        </p:spPr>
      </p:pic>
      <p:sp>
        <p:nvSpPr>
          <p:cNvPr id="5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71489" y="4594231"/>
            <a:ext cx="2576512" cy="282575"/>
          </a:xfrm>
        </p:spPr>
        <p:txBody>
          <a:bodyPr rIns="0"/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latin typeface="+mj-lt"/>
              </a:defRPr>
            </a:lvl2pPr>
            <a:lvl3pPr marL="914400" indent="0">
              <a:buNone/>
              <a:defRPr sz="1800">
                <a:latin typeface="+mj-lt"/>
              </a:defRPr>
            </a:lvl3pPr>
            <a:lvl4pPr marL="1371600" indent="0">
              <a:buNone/>
              <a:defRPr sz="1800">
                <a:latin typeface="+mj-lt"/>
              </a:defRPr>
            </a:lvl4pPr>
            <a:lvl5pPr marL="182880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002" y="0"/>
            <a:ext cx="1208001" cy="120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12694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3" y="1728789"/>
            <a:ext cx="8445499" cy="43973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C4499AD-2124-45B8-AE79-55A6177C734C}" type="slidenum">
              <a:rPr lang="en-US">
                <a:solidFill>
                  <a:srgbClr val="00877C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877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353652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F4B714-0F0F-4FF5-8AFA-A1D162AD2F87}" type="slidenum">
              <a:rPr lang="en-US" altLang="en-US">
                <a:solidFill>
                  <a:srgbClr val="00877C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877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1532538"/>
      </p:ext>
    </p:extLst>
  </p:cSld>
  <p:clrMapOvr>
    <a:masterClrMapping/>
  </p:clrMapOvr>
  <p:transition spd="med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3106" name="Picture 12" descr="EC_Text_slide"/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99"/>
          <a:stretch>
            <a:fillRect/>
          </a:stretch>
        </p:blipFill>
        <p:spPr bwMode="auto">
          <a:xfrm>
            <a:off x="1" y="-1976"/>
            <a:ext cx="7935999" cy="213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310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0431"/>
            <a:ext cx="7772400" cy="1470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altLang="en-US" noProof="0" dirty="0"/>
              <a:t>Click to edit Master title style</a:t>
            </a:r>
          </a:p>
        </p:txBody>
      </p:sp>
      <p:sp>
        <p:nvSpPr>
          <p:cNvPr id="30310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Arial" charset="0"/>
              <a:buNone/>
              <a:defRPr/>
            </a:lvl1pPr>
          </a:lstStyle>
          <a:p>
            <a:pPr lvl="0"/>
            <a:r>
              <a:rPr lang="en-US" altLang="en-US" noProof="0"/>
              <a:t>Click to edit Master subtitle style</a:t>
            </a:r>
          </a:p>
        </p:txBody>
      </p:sp>
      <p:graphicFrame>
        <p:nvGraphicFramePr>
          <p:cNvPr id="303111" name="Object 7"/>
          <p:cNvGraphicFramePr>
            <a:graphicFrameLocks noChangeAspect="1"/>
          </p:cNvGraphicFramePr>
          <p:nvPr/>
        </p:nvGraphicFramePr>
        <p:xfrm>
          <a:off x="0" y="6477000"/>
          <a:ext cx="1143000" cy="381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Image" r:id="rId4" imgW="1917460" imgH="647391" progId="">
                  <p:embed/>
                </p:oleObj>
              </mc:Choice>
              <mc:Fallback>
                <p:oleObj name="Image" r:id="rId4" imgW="1917460" imgH="647391" progId="">
                  <p:embed/>
                  <p:pic>
                    <p:nvPicPr>
                      <p:cNvPr id="303111" name="Object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6477000"/>
                        <a:ext cx="1143000" cy="381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33CC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676767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B8B8B8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bjClassifierImageBottom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0454" y="6519136"/>
            <a:ext cx="792549" cy="326164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061E61-0BCA-4150-B181-DE10CAE5F8BB}" type="slidenum">
              <a:rPr lang="en-US" smtClean="0">
                <a:solidFill>
                  <a:srgbClr val="00877C"/>
                </a:solidFill>
              </a:rPr>
              <a:pPr/>
              <a:t>‹#›</a:t>
            </a:fld>
            <a:endParaRPr lang="en-US" dirty="0">
              <a:solidFill>
                <a:srgbClr val="00877C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002" y="0"/>
            <a:ext cx="1208001" cy="120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3321823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54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54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F2198C-B404-4D8B-B715-0AE54A2881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5643071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2"/>
          <p:cNvSpPr>
            <a:spLocks noChangeShapeType="1"/>
          </p:cNvSpPr>
          <p:nvPr userDrawn="1"/>
        </p:nvSpPr>
        <p:spPr bwMode="auto">
          <a:xfrm flipV="1">
            <a:off x="3132138" y="304800"/>
            <a:ext cx="0" cy="6248400"/>
          </a:xfrm>
          <a:prstGeom prst="line">
            <a:avLst/>
          </a:prstGeom>
          <a:noFill/>
          <a:ln w="25400">
            <a:solidFill>
              <a:srgbClr val="009999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graphicFrame>
        <p:nvGraphicFramePr>
          <p:cNvPr id="3" name="Object 3"/>
          <p:cNvGraphicFramePr>
            <a:graphicFrameLocks noChangeAspect="1"/>
          </p:cNvGraphicFramePr>
          <p:nvPr userDrawn="1"/>
        </p:nvGraphicFramePr>
        <p:xfrm>
          <a:off x="3344866" y="1068388"/>
          <a:ext cx="2522537" cy="7604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Picture" r:id="rId3" imgW="3373438" imgH="1017588" progId="Word.Picture.8">
                  <p:embed/>
                </p:oleObj>
              </mc:Choice>
              <mc:Fallback>
                <p:oleObj name="Picture" r:id="rId3" imgW="3373438" imgH="1017588" progId="Word.Picture.8">
                  <p:embed/>
                  <p:pic>
                    <p:nvPicPr>
                      <p:cNvPr id="3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344866" y="1068388"/>
                        <a:ext cx="2522537" cy="7604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8464945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750180-8C44-465D-A034-B44CD764FED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850353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5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3A1695-A400-4A41-9DD1-CB7AFE3D496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008612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371600"/>
            <a:ext cx="4191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71600"/>
            <a:ext cx="4191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40DA85-40F6-4D42-BB0C-541DFD25587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801471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4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4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5CC561-DE9C-468A-87A4-B5F679CE5AC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329747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DACE1E-3B3A-4CBB-AE15-2060270B35A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84048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43D181-D8B6-4AF0-8CA1-70BE1C5A0E0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223182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9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BCD8E6-EEB2-4FD5-B1D4-D7E760E8486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89795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706CCE-A2D6-4FE9-A1C2-52DE6476C41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013874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59C3C0-49C8-4AB8-B88E-4283E4F7D16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39585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846941-CBB8-44DC-A65A-D314DC5A0F5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1800320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61150" y="-30163"/>
            <a:ext cx="2178050" cy="62023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7000" y="-30163"/>
            <a:ext cx="6381750" cy="62023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56C68E-2EBA-48CC-A7D7-7A3A1D0650E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762632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/ 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EACON_FirstPage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914400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2566" y="1185905"/>
            <a:ext cx="6974116" cy="2239920"/>
          </a:xfrm>
        </p:spPr>
        <p:txBody>
          <a:bodyPr/>
          <a:lstStyle>
            <a:lvl1pPr>
              <a:lnSpc>
                <a:spcPct val="78000"/>
              </a:lnSpc>
              <a:defRPr sz="4200" cap="all" spc="13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2575" y="5628859"/>
            <a:ext cx="3601387" cy="619563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000" spc="3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&lt;Insert subtitle – optional&gt;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2574" y="5374254"/>
            <a:ext cx="1936461" cy="189351"/>
          </a:xfrm>
        </p:spPr>
        <p:txBody>
          <a:bodyPr/>
          <a:lstStyle>
            <a:lvl1pPr>
              <a:defRPr sz="1400" spc="3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Insert Date He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017D690-7102-4BC6-BF22-626CC3D3324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68060273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/ Cover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2566" y="1185905"/>
            <a:ext cx="6974116" cy="2239920"/>
          </a:xfrm>
        </p:spPr>
        <p:txBody>
          <a:bodyPr/>
          <a:lstStyle>
            <a:lvl1pPr>
              <a:lnSpc>
                <a:spcPct val="78000"/>
              </a:lnSpc>
              <a:defRPr sz="4200" cap="all" spc="13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2575" y="5628859"/>
            <a:ext cx="3601387" cy="619563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000" spc="3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&lt;Insert subtitle – optional&gt;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2574" y="5374254"/>
            <a:ext cx="1936461" cy="189351"/>
          </a:xfrm>
        </p:spPr>
        <p:txBody>
          <a:bodyPr/>
          <a:lstStyle>
            <a:lvl1pPr>
              <a:defRPr sz="1400" spc="3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Insert Date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3C24633-331F-4DFA-8BE9-9DDB5B4BC6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78215" y="-538707"/>
            <a:ext cx="5904114" cy="7773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354896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2404533"/>
            <a:ext cx="5370924" cy="2133600"/>
          </a:xfrm>
        </p:spPr>
        <p:txBody>
          <a:bodyPr anchor="ctr" anchorCtr="0">
            <a:normAutofit/>
          </a:bodyPr>
          <a:lstStyle>
            <a:lvl1pPr algn="l">
              <a:lnSpc>
                <a:spcPct val="78000"/>
              </a:lnSpc>
              <a:defRPr sz="4200" b="0" cap="all" spc="13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4667" y="4631292"/>
            <a:ext cx="4927896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chemeClr val="bg1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732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5F2EDDF-1E89-43E8-BAAF-227723A0CF43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84141694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2404533"/>
            <a:ext cx="5370924" cy="2133600"/>
          </a:xfrm>
        </p:spPr>
        <p:txBody>
          <a:bodyPr anchor="ctr" anchorCtr="0">
            <a:normAutofit/>
          </a:bodyPr>
          <a:lstStyle>
            <a:lvl1pPr algn="l">
              <a:lnSpc>
                <a:spcPct val="78000"/>
              </a:lnSpc>
              <a:defRPr sz="4200" b="0" cap="all" spc="13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4667" y="4631292"/>
            <a:ext cx="4927896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chemeClr val="bg1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43998" cy="685732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3A01098-E870-4064-AD42-61DF9C3D157B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64481363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vid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2404533"/>
            <a:ext cx="5370924" cy="2133600"/>
          </a:xfrm>
        </p:spPr>
        <p:txBody>
          <a:bodyPr anchor="ctr" anchorCtr="0">
            <a:normAutofit/>
          </a:bodyPr>
          <a:lstStyle>
            <a:lvl1pPr algn="l">
              <a:lnSpc>
                <a:spcPct val="78000"/>
              </a:lnSpc>
              <a:defRPr sz="4200" b="0" cap="all" spc="13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4667" y="4631292"/>
            <a:ext cx="4927896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chemeClr val="bg1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3"/>
            <a:ext cx="9143998" cy="685732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39CFB2A-50F5-41E4-8BF5-5A4B92C12432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38840240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vi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2404533"/>
            <a:ext cx="5370924" cy="2133600"/>
          </a:xfrm>
        </p:spPr>
        <p:txBody>
          <a:bodyPr anchor="ctr" anchorCtr="0">
            <a:normAutofit/>
          </a:bodyPr>
          <a:lstStyle>
            <a:lvl1pPr algn="l">
              <a:lnSpc>
                <a:spcPct val="78000"/>
              </a:lnSpc>
              <a:defRPr sz="4200" b="0" cap="all" spc="13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4667" y="4631292"/>
            <a:ext cx="4927896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chemeClr val="bg1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3"/>
            <a:ext cx="9143997" cy="685732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1BA20DC-B506-49C1-8B11-ADD5FA9458A3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51046983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&amp; Content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8895BF-C1C5-49CB-9754-0325FBAB27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0559255"/>
              </p:ext>
            </p:extLst>
          </p:nvPr>
        </p:nvGraphicFramePr>
        <p:xfrm>
          <a:off x="1200" y="1611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8895BF-C1C5-49CB-9754-0325FBAB27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611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54767" cy="107615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E5AC91E-FE41-4456-B327-F29DD779E757}"/>
              </a:ext>
            </a:extLst>
          </p:cNvPr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10485172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ext &amp; Content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75398" cy="107615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D65DB8A-611A-4F4B-AF51-5415D81AA6DD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69195430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ext &amp; Content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54767" cy="1076155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3C8361E-72D1-4261-BC48-6EA379A9EFD7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2359257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BBDC38-2ADB-47B1-949D-242BD9E1ABB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5784564"/>
      </p:ext>
    </p:extLst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ext &amp; Content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54767" cy="1076155"/>
          </a:xfrm>
        </p:spPr>
        <p:txBody>
          <a:bodyPr/>
          <a:lstStyle/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01894A4-06E2-4681-A071-150303362E5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83279012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&amp; Content – Warm Gra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44452" cy="1076155"/>
          </a:xfrm>
        </p:spPr>
        <p:txBody>
          <a:bodyPr/>
          <a:lstStyle/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733F9CE-44C8-48F7-BE29-0CF8AE1AA46D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14127050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&amp; Content – Dark Gra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70240" cy="10761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D97F68-CC38-3C48-B083-3B4A145706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D088921-EBF7-48EC-A86E-1D317E4D1078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10451208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&amp; Content – Light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59924" cy="10761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D36D955-AE3B-4320-84EE-732FCC1EF8BB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14982239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ext &amp; Content – Light Teal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70240" cy="10761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B1AEA22-7043-4427-86E9-8F23B7876CE2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94612869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ext &amp; Content – Light Tea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54767" cy="10761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AA32496-51FB-4C38-B376-C7AC4B122D6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63699947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A1F6EDA-7375-41A5-9605-90BCFD844F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9372153"/>
              </p:ext>
            </p:extLst>
          </p:nvPr>
        </p:nvGraphicFramePr>
        <p:xfrm>
          <a:off x="1200" y="1611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1F6EDA-7375-41A5-9605-90BCFD844F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611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70240" cy="1076155"/>
          </a:xfrm>
        </p:spPr>
        <p:txBody>
          <a:bodyPr/>
          <a:lstStyle/>
          <a:p>
            <a:r>
              <a:rPr lang="en-US" dirty="0"/>
              <a:t>&lt;Title &amp; content layout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077909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– Warm Gra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787717" cy="1076155"/>
          </a:xfrm>
        </p:spPr>
        <p:txBody>
          <a:bodyPr/>
          <a:lstStyle/>
          <a:p>
            <a:r>
              <a:rPr lang="en-US" dirty="0"/>
              <a:t>&lt;Title &amp; content layout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09D0B89-E418-45F8-99EB-B392A9EC3B63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58815468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– Dark Gra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34136" cy="10761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D97F68-CC38-3C48-B083-3B4A145706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FF5C32F-260A-428F-8438-207F6329A0F5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857168465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70240" cy="107615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&lt;Team Slid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8228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78229" y="2116113"/>
            <a:ext cx="1220709" cy="1627187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1372701" y="2116113"/>
            <a:ext cx="1220709" cy="1627187"/>
          </a:xfrm>
          <a:solidFill>
            <a:schemeClr val="accent3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2667174" y="2116113"/>
            <a:ext cx="1220709" cy="1627187"/>
          </a:xfrm>
          <a:solidFill>
            <a:schemeClr val="accent2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3961647" y="2116113"/>
            <a:ext cx="1220709" cy="1627187"/>
          </a:xfrm>
          <a:solidFill>
            <a:schemeClr val="bg2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5256119" y="2116113"/>
            <a:ext cx="1220709" cy="1627187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6550592" y="2116113"/>
            <a:ext cx="1220709" cy="1627187"/>
          </a:xfrm>
          <a:solidFill>
            <a:schemeClr val="accent4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9"/>
          <p:cNvSpPr>
            <a:spLocks noGrp="1"/>
          </p:cNvSpPr>
          <p:nvPr>
            <p:ph type="pic" sz="quarter" idx="20"/>
          </p:nvPr>
        </p:nvSpPr>
        <p:spPr>
          <a:xfrm>
            <a:off x="7845063" y="2116113"/>
            <a:ext cx="1220709" cy="1627187"/>
          </a:xfrm>
          <a:solidFill>
            <a:schemeClr val="accent2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1372710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2667182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3961646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5256127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6550592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7845071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pic>
        <p:nvPicPr>
          <p:cNvPr id="26" name="Picture 25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E5BDE5D4-3E28-4D96-92A2-587BC8BA9E45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968112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23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10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23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4F9292-E11C-4D02-9375-162058DFF6F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659394"/>
      </p:ext>
    </p:extLst>
  </p:cSld>
  <p:clrMapOvr>
    <a:masterClrMapping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divider – Dark Gra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EACON_SubDivider_d gray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2253996"/>
            <a:ext cx="4927896" cy="2350008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3600" b="0" cap="none" spc="50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4667" y="4631292"/>
            <a:ext cx="4927896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rgbClr val="FFFFFF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954629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-column w/green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70240" cy="1076155"/>
          </a:xfrm>
        </p:spPr>
        <p:txBody>
          <a:bodyPr/>
          <a:lstStyle/>
          <a:p>
            <a:r>
              <a:rPr lang="en-US" dirty="0"/>
              <a:t>&lt;2-column with Green call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37540" y="1853405"/>
            <a:ext cx="3949735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7424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>
                <a:solidFill>
                  <a:srgbClr val="37424A"/>
                </a:solidFill>
              </a:rPr>
              <a:pPr/>
              <a:t>‹#›</a:t>
            </a:fld>
            <a:endParaRPr lang="en-US">
              <a:solidFill>
                <a:srgbClr val="37424A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4667" y="1853405"/>
            <a:ext cx="3949735" cy="4290227"/>
          </a:xfrm>
        </p:spPr>
        <p:txBody>
          <a:bodyPr anchor="ctr" anchorCtr="0"/>
          <a:lstStyle>
            <a:lvl1pPr>
              <a:lnSpc>
                <a:spcPct val="85000"/>
              </a:lnSpc>
              <a:spcBef>
                <a:spcPts val="1600"/>
              </a:spcBef>
              <a:defRPr sz="3200" b="1" cap="all" spc="130">
                <a:solidFill>
                  <a:schemeClr val="accent1"/>
                </a:solidFill>
              </a:defRPr>
            </a:lvl1pPr>
            <a:lvl2pPr marL="220663" indent="-169863">
              <a:lnSpc>
                <a:spcPct val="90000"/>
              </a:lnSpc>
              <a:spcBef>
                <a:spcPts val="300"/>
              </a:spcBef>
              <a:buFont typeface="Arial"/>
              <a:buChar char="•"/>
              <a:defRPr sz="2400">
                <a:solidFill>
                  <a:schemeClr val="accent1"/>
                </a:solidFill>
              </a:defRPr>
            </a:lvl2pPr>
            <a:lvl3pPr marL="423863" indent="-187325">
              <a:lnSpc>
                <a:spcPct val="90000"/>
              </a:lnSpc>
              <a:spcBef>
                <a:spcPts val="100"/>
              </a:spcBef>
              <a:defRPr sz="200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 dirty="0"/>
              <a:t>&lt;Insert large type callout or image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11" name="Picture 10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D75088F-B19A-4813-BF12-087120429899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90824929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75398" cy="1076155"/>
          </a:xfrm>
        </p:spPr>
        <p:txBody>
          <a:bodyPr/>
          <a:lstStyle/>
          <a:p>
            <a:r>
              <a:rPr lang="en-US" dirty="0"/>
              <a:t>&lt;2 column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37540" y="1853405"/>
            <a:ext cx="3949735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7424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>
                <a:solidFill>
                  <a:srgbClr val="37424A"/>
                </a:solidFill>
              </a:rPr>
              <a:pPr/>
              <a:t>‹#›</a:t>
            </a:fld>
            <a:endParaRPr lang="en-US">
              <a:solidFill>
                <a:srgbClr val="37424A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64667" y="1853405"/>
            <a:ext cx="3949735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5FB58E7-435E-402F-8838-6355A07505B5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73484877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text full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54766" cy="1076155"/>
          </a:xfrm>
        </p:spPr>
        <p:txBody>
          <a:bodyPr/>
          <a:lstStyle/>
          <a:p>
            <a:r>
              <a:rPr lang="en-US" dirty="0"/>
              <a:t>&lt;Large text full call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20733" y="4555076"/>
            <a:ext cx="4681169" cy="1588550"/>
          </a:xfrm>
        </p:spPr>
        <p:txBody>
          <a:bodyPr/>
          <a:lstStyle>
            <a:lvl1pPr>
              <a:lnSpc>
                <a:spcPct val="94000"/>
              </a:lnSpc>
              <a:spcBef>
                <a:spcPts val="1000"/>
              </a:spcBef>
              <a:defRPr sz="2400"/>
            </a:lvl1pPr>
            <a:lvl2pPr>
              <a:lnSpc>
                <a:spcPct val="94000"/>
              </a:lnSpc>
              <a:defRPr sz="2400"/>
            </a:lvl2pPr>
            <a:lvl3pPr>
              <a:lnSpc>
                <a:spcPct val="94000"/>
              </a:lnSpc>
              <a:defRPr sz="24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7424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>
                <a:solidFill>
                  <a:srgbClr val="37424A"/>
                </a:solidFill>
              </a:rPr>
              <a:pPr/>
              <a:t>‹#›</a:t>
            </a:fld>
            <a:endParaRPr lang="en-US">
              <a:solidFill>
                <a:srgbClr val="37424A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2481" y="1571359"/>
            <a:ext cx="7539412" cy="2609326"/>
          </a:xfrm>
        </p:spPr>
        <p:txBody>
          <a:bodyPr anchor="b" anchorCtr="0"/>
          <a:lstStyle>
            <a:lvl1pPr>
              <a:lnSpc>
                <a:spcPct val="78000"/>
              </a:lnSpc>
              <a:spcBef>
                <a:spcPts val="2000"/>
              </a:spcBef>
              <a:defRPr sz="5800" cap="all" spc="130">
                <a:solidFill>
                  <a:srgbClr val="00877C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pic>
        <p:nvPicPr>
          <p:cNvPr id="11" name="Picture 10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6F5FD16-F105-4542-8076-A07804A8E0EA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391288057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 stacked text content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75398" cy="107615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&lt;2 stacked content / table option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399"/>
            <a:ext cx="8222618" cy="2847334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464666" y="4896160"/>
            <a:ext cx="8222618" cy="1247487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 marL="180975" indent="-147638">
              <a:spcBef>
                <a:spcPts val="200"/>
              </a:spcBef>
              <a:defRPr sz="1800"/>
            </a:lvl2pPr>
            <a:lvl3pPr marL="368300" indent="-168275">
              <a:spcBef>
                <a:spcPts val="0"/>
              </a:spcBef>
              <a:defRPr sz="1700"/>
            </a:lvl3pPr>
            <a:lvl4pPr marL="501650" indent="-133350">
              <a:spcBef>
                <a:spcPts val="0"/>
              </a:spcBef>
              <a:buNone/>
              <a:defRPr sz="16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1" name="Picture 10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6CA916A-FF3A-4195-9AD0-B45A0D4F3216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112289411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0/70 2-column /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916211" cy="1076155"/>
          </a:xfrm>
        </p:spPr>
        <p:txBody>
          <a:bodyPr/>
          <a:lstStyle/>
          <a:p>
            <a:r>
              <a:rPr lang="en-US" dirty="0"/>
              <a:t>&lt;30/70 2-column / plotted chart option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8711" y="1853405"/>
            <a:ext cx="5258573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7424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>
                <a:solidFill>
                  <a:srgbClr val="37424A"/>
                </a:solidFill>
              </a:rPr>
              <a:pPr/>
              <a:t>‹#›</a:t>
            </a:fld>
            <a:endParaRPr lang="en-US">
              <a:solidFill>
                <a:srgbClr val="37424A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64667" y="1853405"/>
            <a:ext cx="2648279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FF3B38D-CF5C-4453-9C26-FB0633D4F301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23659646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/ Closin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EACON_ThankYou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914400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2575" y="1913098"/>
            <a:ext cx="5438120" cy="1608668"/>
          </a:xfrm>
        </p:spPr>
        <p:txBody>
          <a:bodyPr/>
          <a:lstStyle>
            <a:lvl1pPr>
              <a:lnSpc>
                <a:spcPct val="78000"/>
              </a:lnSpc>
              <a:defRPr sz="5800" cap="all" spc="130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&lt;Insert thank you&gt;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2566" y="3970933"/>
            <a:ext cx="3953422" cy="619563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&lt;Optional Subtitle&gt;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2566" y="5483546"/>
            <a:ext cx="3953422" cy="739456"/>
          </a:xfrm>
        </p:spPr>
        <p:txBody>
          <a:bodyPr/>
          <a:lstStyle>
            <a:lvl1pPr>
              <a:defRPr sz="550" kern="500" baseline="0">
                <a:solidFill>
                  <a:srgbClr val="FFFFF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Insert Proprietary / Legal Language Here</a:t>
            </a:r>
          </a:p>
        </p:txBody>
      </p:sp>
    </p:spTree>
    <p:extLst>
      <p:ext uri="{BB962C8B-B14F-4D97-AF65-F5344CB8AC3E}">
        <p14:creationId xmlns:p14="http://schemas.microsoft.com/office/powerpoint/2010/main" val="4839146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/ 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EACON_FirstPage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914400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2566" y="1185905"/>
            <a:ext cx="6974116" cy="2239920"/>
          </a:xfrm>
        </p:spPr>
        <p:txBody>
          <a:bodyPr/>
          <a:lstStyle>
            <a:lvl1pPr>
              <a:lnSpc>
                <a:spcPct val="78000"/>
              </a:lnSpc>
              <a:defRPr sz="4200" cap="all" spc="13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2575" y="5628859"/>
            <a:ext cx="3601387" cy="619563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000" spc="3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&lt;Insert subtitle – optional&gt;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2574" y="5374254"/>
            <a:ext cx="1936461" cy="189351"/>
          </a:xfrm>
        </p:spPr>
        <p:txBody>
          <a:bodyPr/>
          <a:lstStyle>
            <a:lvl1pPr>
              <a:defRPr sz="1400" spc="3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Insert Date Here</a:t>
            </a:r>
          </a:p>
        </p:txBody>
      </p:sp>
    </p:spTree>
    <p:extLst>
      <p:ext uri="{BB962C8B-B14F-4D97-AF65-F5344CB8AC3E}">
        <p14:creationId xmlns:p14="http://schemas.microsoft.com/office/powerpoint/2010/main" val="147097012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/ TOC – Green backgroun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8" y="446259"/>
            <a:ext cx="7834136" cy="107615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&lt;Agenda / TOC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58" y="1853405"/>
            <a:ext cx="8222023" cy="4290227"/>
          </a:xfrm>
        </p:spPr>
        <p:txBody>
          <a:bodyPr numCol="2" spcCol="731520"/>
          <a:lstStyle>
            <a:lvl1pPr marL="368300" indent="-368300">
              <a:spcBef>
                <a:spcPts val="10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627063" indent="-258763">
              <a:buFont typeface="+mj-lt"/>
              <a:buAutoNum type="alphaLcPeriod"/>
              <a:defRPr>
                <a:solidFill>
                  <a:schemeClr val="tx1"/>
                </a:solidFill>
              </a:defRPr>
            </a:lvl2pPr>
            <a:lvl3pPr marL="849313" indent="-146050">
              <a:buFont typeface="Arial"/>
              <a:buChar char="•"/>
              <a:defRPr>
                <a:solidFill>
                  <a:schemeClr val="tx1"/>
                </a:solidFill>
              </a:defRPr>
            </a:lvl3pPr>
            <a:lvl4pPr marL="1055688" indent="-171450">
              <a:buFont typeface="Lucida Grande"/>
              <a:buChar char="–"/>
              <a:defRPr>
                <a:solidFill>
                  <a:schemeClr val="tx1"/>
                </a:solidFill>
              </a:defRPr>
            </a:lvl4pPr>
            <a:lvl5pPr marL="1279525" indent="-182563">
              <a:buFont typeface="Arial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D97F68-CC38-3C48-B083-3B4A145706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51A29BB-6BCA-4B1E-AE44-7B20672C1D1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770804423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AE50EC3-2178-4B68-B483-6E1D6413E9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0154908"/>
              </p:ext>
            </p:extLst>
          </p:nvPr>
        </p:nvGraphicFramePr>
        <p:xfrm>
          <a:off x="1191" y="1589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AE50EC3-2178-4B68-B483-6E1D6413E9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9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34136" cy="1076155"/>
          </a:xfrm>
        </p:spPr>
        <p:txBody>
          <a:bodyPr/>
          <a:lstStyle/>
          <a:p>
            <a:r>
              <a:rPr lang="en-US" dirty="0"/>
              <a:t>&lt;Title &amp; content layout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E8FD5BA-E117-4FA2-98E4-5BFDE4FBBB6F}"/>
              </a:ext>
            </a:extLst>
          </p:cNvPr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41505759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354" indent="0">
              <a:buNone/>
              <a:defRPr sz="2800"/>
            </a:lvl2pPr>
            <a:lvl3pPr marL="912714" indent="0">
              <a:buNone/>
              <a:defRPr sz="2400"/>
            </a:lvl3pPr>
            <a:lvl4pPr marL="1369077" indent="0">
              <a:buNone/>
              <a:defRPr sz="2000"/>
            </a:lvl4pPr>
            <a:lvl5pPr marL="1825426" indent="0">
              <a:buNone/>
              <a:defRPr sz="2000"/>
            </a:lvl5pPr>
            <a:lvl6pPr marL="2281780" indent="0">
              <a:buNone/>
              <a:defRPr sz="2000"/>
            </a:lvl6pPr>
            <a:lvl7pPr marL="2738136" indent="0">
              <a:buNone/>
              <a:defRPr sz="2000"/>
            </a:lvl7pPr>
            <a:lvl8pPr marL="3194492" indent="0">
              <a:buNone/>
              <a:defRPr sz="2000"/>
            </a:lvl8pPr>
            <a:lvl9pPr marL="3650846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C866C4-7D53-4B19-83F8-7773E8FB2B0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984456"/>
      </p:ext>
    </p:extLst>
  </p:cSld>
  <p:clrMapOvr>
    <a:masterClrMapping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 – Warm Gra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787717" cy="1076155"/>
          </a:xfrm>
        </p:spPr>
        <p:txBody>
          <a:bodyPr/>
          <a:lstStyle/>
          <a:p>
            <a:r>
              <a:rPr lang="en-US" dirty="0"/>
              <a:t>&lt;Title &amp; content layout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82B4917-70BC-4191-B267-1E09F5585BA7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066628611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 – Dark Gra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49609" cy="10761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D97F68-CC38-3C48-B083-3B4A145706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74BFB38-1F04-4CBF-A549-B998BE4BA416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20218313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– Light Tea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65083" cy="1076155"/>
          </a:xfrm>
        </p:spPr>
        <p:txBody>
          <a:bodyPr/>
          <a:lstStyle/>
          <a:p>
            <a:r>
              <a:rPr lang="en-US" dirty="0"/>
              <a:t>&lt;Title &amp; content layout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F5198F4-4D6C-4309-ABC3-E4A34159577A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63934975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08348" cy="107615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&lt;Team Slid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8228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78229" y="2116113"/>
            <a:ext cx="1220709" cy="1627187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1372701" y="2116113"/>
            <a:ext cx="1220709" cy="1627187"/>
          </a:xfrm>
          <a:solidFill>
            <a:schemeClr val="accent3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2667174" y="2116113"/>
            <a:ext cx="1220709" cy="1627187"/>
          </a:xfrm>
          <a:solidFill>
            <a:schemeClr val="accent2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3961647" y="2116113"/>
            <a:ext cx="1220709" cy="1627187"/>
          </a:xfrm>
          <a:solidFill>
            <a:schemeClr val="bg2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5256119" y="2116113"/>
            <a:ext cx="1220709" cy="1627187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6550592" y="2116113"/>
            <a:ext cx="1220709" cy="1627187"/>
          </a:xfrm>
          <a:solidFill>
            <a:schemeClr val="accent4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9"/>
          <p:cNvSpPr>
            <a:spLocks noGrp="1"/>
          </p:cNvSpPr>
          <p:nvPr>
            <p:ph type="pic" sz="quarter" idx="20"/>
          </p:nvPr>
        </p:nvSpPr>
        <p:spPr>
          <a:xfrm>
            <a:off x="7845063" y="2116113"/>
            <a:ext cx="1220709" cy="1627187"/>
          </a:xfrm>
          <a:solidFill>
            <a:schemeClr val="accent2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1372710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2667182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3961646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5256127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6550592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7845071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pic>
        <p:nvPicPr>
          <p:cNvPr id="26" name="Picture 25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5A63310F-369B-4847-9C8D-8070D5D8F776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399049318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EACON_Divider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" y="3"/>
            <a:ext cx="9144000" cy="68580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2404533"/>
            <a:ext cx="5370924" cy="2133600"/>
          </a:xfrm>
        </p:spPr>
        <p:txBody>
          <a:bodyPr anchor="ctr" anchorCtr="0">
            <a:normAutofit/>
          </a:bodyPr>
          <a:lstStyle>
            <a:lvl1pPr algn="l">
              <a:lnSpc>
                <a:spcPct val="78000"/>
              </a:lnSpc>
              <a:defRPr sz="4200" b="0" cap="all" spc="13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4667" y="4631292"/>
            <a:ext cx="4927896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chemeClr val="tx1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</p:spTree>
    <p:extLst>
      <p:ext uri="{BB962C8B-B14F-4D97-AF65-F5344CB8AC3E}">
        <p14:creationId xmlns:p14="http://schemas.microsoft.com/office/powerpoint/2010/main" val="1665085440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divider – Warm Gra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EACON_SubDivider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914400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2256205"/>
            <a:ext cx="4927896" cy="2345590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3600" b="0" cap="none" spc="5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4667" y="4631292"/>
            <a:ext cx="4927896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rgbClr val="000000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496745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916211" cy="1076155"/>
          </a:xfrm>
        </p:spPr>
        <p:txBody>
          <a:bodyPr/>
          <a:lstStyle/>
          <a:p>
            <a:r>
              <a:rPr lang="en-US" dirty="0"/>
              <a:t>&lt;2 column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37540" y="1853405"/>
            <a:ext cx="3949735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7424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>
                <a:solidFill>
                  <a:srgbClr val="37424A"/>
                </a:solidFill>
              </a:rPr>
              <a:pPr/>
              <a:t>‹#›</a:t>
            </a:fld>
            <a:endParaRPr lang="en-US">
              <a:solidFill>
                <a:srgbClr val="37424A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64667" y="1853405"/>
            <a:ext cx="3949735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5A09D48-32F6-4B53-90C5-983965D89555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61965209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Large text full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916211" cy="1076155"/>
          </a:xfrm>
        </p:spPr>
        <p:txBody>
          <a:bodyPr/>
          <a:lstStyle/>
          <a:p>
            <a:r>
              <a:rPr lang="en-US" dirty="0"/>
              <a:t>&lt;Large text full call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20733" y="4555076"/>
            <a:ext cx="4681169" cy="1588550"/>
          </a:xfrm>
        </p:spPr>
        <p:txBody>
          <a:bodyPr/>
          <a:lstStyle>
            <a:lvl1pPr>
              <a:lnSpc>
                <a:spcPct val="94000"/>
              </a:lnSpc>
              <a:spcBef>
                <a:spcPts val="1000"/>
              </a:spcBef>
              <a:defRPr sz="2400"/>
            </a:lvl1pPr>
            <a:lvl2pPr>
              <a:lnSpc>
                <a:spcPct val="94000"/>
              </a:lnSpc>
              <a:defRPr sz="2400"/>
            </a:lvl2pPr>
            <a:lvl3pPr>
              <a:lnSpc>
                <a:spcPct val="94000"/>
              </a:lnSpc>
              <a:defRPr sz="24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7424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>
                <a:solidFill>
                  <a:srgbClr val="37424A"/>
                </a:solidFill>
              </a:rPr>
              <a:pPr/>
              <a:t>‹#›</a:t>
            </a:fld>
            <a:endParaRPr lang="en-US">
              <a:solidFill>
                <a:srgbClr val="37424A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2481" y="1571359"/>
            <a:ext cx="7539412" cy="2609326"/>
          </a:xfrm>
        </p:spPr>
        <p:txBody>
          <a:bodyPr anchor="b" anchorCtr="0"/>
          <a:lstStyle>
            <a:lvl1pPr>
              <a:lnSpc>
                <a:spcPct val="78000"/>
              </a:lnSpc>
              <a:spcBef>
                <a:spcPts val="2000"/>
              </a:spcBef>
              <a:defRPr sz="5800" cap="all" spc="130">
                <a:solidFill>
                  <a:srgbClr val="00877C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pic>
        <p:nvPicPr>
          <p:cNvPr id="11" name="Picture 10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9E81BB7-770F-44BA-906F-EA5A3753E3F1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53746052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0/70 2-column /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916211" cy="1076155"/>
          </a:xfrm>
        </p:spPr>
        <p:txBody>
          <a:bodyPr/>
          <a:lstStyle/>
          <a:p>
            <a:r>
              <a:rPr lang="en-US" dirty="0"/>
              <a:t>&lt;30/70 2-column / plotted chart option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8711" y="1853405"/>
            <a:ext cx="5258573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7424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>
                <a:solidFill>
                  <a:srgbClr val="37424A"/>
                </a:solidFill>
              </a:rPr>
              <a:pPr/>
              <a:t>‹#›</a:t>
            </a:fld>
            <a:endParaRPr lang="en-US">
              <a:solidFill>
                <a:srgbClr val="37424A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64667" y="1853405"/>
            <a:ext cx="2648279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2544525-B621-4E08-82DB-560A40349F1F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31353684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E4B76F9-4F78-49ED-8082-5E5A5ED6A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531877"/>
              </p:ext>
            </p:extLst>
          </p:nvPr>
        </p:nvGraphicFramePr>
        <p:xfrm>
          <a:off x="1200" y="1611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E4B76F9-4F78-49ED-8082-5E5A5ED6A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611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B58467-406B-475A-8928-FF3F14AEE9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530E19-71F9-4A86-9588-20F39725FD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srgbClr val="37424A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0A7BCC-54D8-434F-A67D-ADE3E9AFCA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4D97F68-CC38-3C48-B083-3B4A1457065E}" type="slidenum">
              <a:rPr lang="en-US" smtClean="0">
                <a:solidFill>
                  <a:srgbClr val="37424A"/>
                </a:solidFill>
              </a:rPr>
              <a:pPr/>
              <a:t>‹#›</a:t>
            </a:fld>
            <a:endParaRPr lang="en-US" dirty="0">
              <a:solidFill>
                <a:srgbClr val="37424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55850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9D22A3-822E-4A3B-96E7-CF64817FE3E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4324397"/>
      </p:ext>
    </p:extLst>
  </p:cSld>
  <p:clrMapOvr>
    <a:masterClrMapping/>
  </p:clrMapOvr>
  <p:transition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8" y="1638300"/>
            <a:ext cx="5643563" cy="270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450" y="6215063"/>
            <a:ext cx="1435100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67400" y="2130425"/>
            <a:ext cx="2590800" cy="1470025"/>
          </a:xfrm>
        </p:spPr>
        <p:txBody>
          <a:bodyPr/>
          <a:lstStyle>
            <a:lvl1pPr>
              <a:defRPr>
                <a:solidFill>
                  <a:srgbClr val="37424A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67400" y="3733800"/>
            <a:ext cx="2590800" cy="1447800"/>
          </a:xfrm>
        </p:spPr>
        <p:txBody>
          <a:bodyPr/>
          <a:lstStyle>
            <a:lvl1pPr marL="0" indent="0">
              <a:buFontTx/>
              <a:buNone/>
              <a:defRPr>
                <a:latin typeface="Arial Narrow" pitchFamily="34" charset="0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9733723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886200" y="6626225"/>
            <a:ext cx="685800" cy="23177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7764E7-84A5-49A9-AD94-D9AB1224ED7F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291793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B5986C-9057-41B1-B4B2-BF59F41B5647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9220981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371600"/>
            <a:ext cx="4114800" cy="4754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0" y="1371600"/>
            <a:ext cx="4114800" cy="4754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25416F-FADD-421A-8AE2-1D0C50D8C48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6767267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D28DF1-CFDB-408D-8C49-6A99DFBB5E4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638324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B335D9-CAAD-45FE-B3F8-A7E8C76685DA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2927582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495800" y="6477000"/>
            <a:ext cx="685800" cy="23177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57881E-53D6-4C15-B8C5-36CA237F5948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7386390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71E37C-B2E0-4D0C-8BE2-907D9F221CB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4978414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6649CB-5D5B-4DE6-8055-A9A41BDC076C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4727140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91EE08-CA31-4477-A217-7AD8C2A58BAF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0100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122294"/>
            <a:ext cx="2095500" cy="61690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22294"/>
            <a:ext cx="6134100" cy="61690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1E8B79-BF55-4624-8CFC-7E88DFC429A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725525"/>
      </p:ext>
    </p:extLst>
  </p:cSld>
  <p:clrMapOvr>
    <a:masterClrMapping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0"/>
            <a:ext cx="2095500" cy="61261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0"/>
            <a:ext cx="6134100" cy="61261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1200D2-FAC8-45CE-AAFA-3204439B2BF5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1466549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FF82C3-B0A9-4D90-8221-B2195BCD91B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6842123"/>
      </p:ext>
    </p:extLst>
  </p:cSld>
  <p:clrMapOvr>
    <a:masterClrMapping/>
  </p:clrMapOvr>
  <p:transition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C1CB57-8D3D-48E6-BA83-5A3B10933D4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14" name="bjClassifierImageBottom">
            <a:extLst>
              <a:ext uri="{FF2B5EF4-FFF2-40B4-BE49-F238E27FC236}">
                <a16:creationId xmlns:a16="http://schemas.microsoft.com/office/drawing/2014/main" id="{8178EBFE-3C47-454F-A906-F562E16E49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" y="6468336"/>
            <a:ext cx="792549" cy="32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2712323"/>
      </p:ext>
    </p:extLst>
  </p:cSld>
  <p:clrMapOvr>
    <a:masterClrMapping/>
  </p:clrMapOvr>
  <p:transition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819F9D-F887-46FE-85D6-FD4A564E7A5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8612368"/>
      </p:ext>
    </p:extLst>
  </p:cSld>
  <p:clrMapOvr>
    <a:masterClrMapping/>
  </p:clrMapOvr>
  <p:transition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62038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62038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54F614-FE2F-4084-850F-590967C4E0A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3339739"/>
      </p:ext>
    </p:extLst>
  </p:cSld>
  <p:clrMapOvr>
    <a:masterClrMapping/>
  </p:clrMapOvr>
  <p:transition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32FC8A-0462-4F84-B542-F7C98182D1B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4816952"/>
      </p:ext>
    </p:extLst>
  </p:cSld>
  <p:clrMapOvr>
    <a:masterClrMapping/>
  </p:clrMapOvr>
  <p:transition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D2C196-238A-4BC4-A0FC-51707A521B0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805267"/>
      </p:ext>
    </p:extLst>
  </p:cSld>
  <p:clrMapOvr>
    <a:masterClrMapping/>
  </p:clrMapOvr>
  <p:transition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3F057D-B440-429A-8B26-16F1E095054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5009279"/>
      </p:ext>
    </p:extLst>
  </p:cSld>
  <p:clrMapOvr>
    <a:masterClrMapping/>
  </p:clrMapOvr>
  <p:transition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24B1A9-BD49-4EE5-B297-1C6D4771A3C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4917612"/>
      </p:ext>
    </p:extLst>
  </p:cSld>
  <p:clrMapOvr>
    <a:masterClrMapping/>
  </p:clrMapOvr>
  <p:transition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32E299-014A-4C15-B162-DD8CEA2B347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6921362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2"/>
          <p:cNvSpPr>
            <a:spLocks noChangeShapeType="1"/>
          </p:cNvSpPr>
          <p:nvPr userDrawn="1"/>
        </p:nvSpPr>
        <p:spPr bwMode="auto">
          <a:xfrm flipV="1">
            <a:off x="3132138" y="304800"/>
            <a:ext cx="0" cy="6248400"/>
          </a:xfrm>
          <a:prstGeom prst="line">
            <a:avLst/>
          </a:prstGeom>
          <a:noFill/>
          <a:ln w="25400">
            <a:solidFill>
              <a:srgbClr val="009999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270" tIns="45642" rIns="91270" bIns="45642" anchor="ctr"/>
          <a:lstStyle/>
          <a:p>
            <a:endParaRPr lang="en-US"/>
          </a:p>
        </p:txBody>
      </p:sp>
      <p:graphicFrame>
        <p:nvGraphicFramePr>
          <p:cNvPr id="3" name="Object 3"/>
          <p:cNvGraphicFramePr>
            <a:graphicFrameLocks noChangeAspect="1"/>
          </p:cNvGraphicFramePr>
          <p:nvPr userDrawn="1"/>
        </p:nvGraphicFramePr>
        <p:xfrm>
          <a:off x="3344869" y="1068388"/>
          <a:ext cx="2522537" cy="7604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Picture" r:id="rId3" imgW="3373438" imgH="1017588" progId="Word.Picture.8">
                  <p:embed/>
                </p:oleObj>
              </mc:Choice>
              <mc:Fallback>
                <p:oleObj name="Picture" r:id="rId3" imgW="3373438" imgH="1017588" progId="Word.Picture.8">
                  <p:embed/>
                  <p:pic>
                    <p:nvPicPr>
                      <p:cNvPr id="3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344869" y="1068388"/>
                        <a:ext cx="2522537" cy="7604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76569142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09E0EB-4569-4A7E-B528-052D8B7CB1E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2054248"/>
      </p:ext>
    </p:extLst>
  </p:cSld>
  <p:clrMapOvr>
    <a:masterClrMapping/>
  </p:clrMapOvr>
  <p:transition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122238"/>
            <a:ext cx="2095500" cy="61690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22238"/>
            <a:ext cx="6134100" cy="61690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18C712-A849-456D-BD98-D9C67792054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6940478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5622DA-627E-4849-8AB0-56CF53C1EDF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3770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31" t="18857" b="2"/>
          <a:stretch>
            <a:fillRect/>
          </a:stretch>
        </p:blipFill>
        <p:spPr bwMode="auto">
          <a:xfrm>
            <a:off x="24" y="8"/>
            <a:ext cx="2651125" cy="300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28600" y="2192699"/>
            <a:ext cx="1752600" cy="533400"/>
          </a:xfrm>
        </p:spPr>
        <p:txBody>
          <a:bodyPr anchor="b"/>
          <a:lstStyle>
            <a:lvl1pPr marL="0" indent="0">
              <a:buFontTx/>
              <a:buNone/>
              <a:defRPr sz="1800" b="1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281225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6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354" indent="0">
              <a:buNone/>
              <a:defRPr sz="1800"/>
            </a:lvl2pPr>
            <a:lvl3pPr marL="912714" indent="0">
              <a:buNone/>
              <a:defRPr sz="1600"/>
            </a:lvl3pPr>
            <a:lvl4pPr marL="1369077" indent="0">
              <a:buNone/>
              <a:defRPr sz="1400"/>
            </a:lvl4pPr>
            <a:lvl5pPr marL="1825426" indent="0">
              <a:buNone/>
              <a:defRPr sz="1400"/>
            </a:lvl5pPr>
            <a:lvl6pPr marL="2281780" indent="0">
              <a:buNone/>
              <a:defRPr sz="1400"/>
            </a:lvl6pPr>
            <a:lvl7pPr marL="2738136" indent="0">
              <a:buNone/>
              <a:defRPr sz="1400"/>
            </a:lvl7pPr>
            <a:lvl8pPr marL="3194492" indent="0">
              <a:buNone/>
              <a:defRPr sz="1400"/>
            </a:lvl8pPr>
            <a:lvl9pPr marL="3650846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486A58-2A80-4711-B962-1FDC623D8E9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315273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371600"/>
            <a:ext cx="4191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71600"/>
            <a:ext cx="4191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2C0EFD-90FE-4F11-B5D5-4033F1C9D5A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91636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54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54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D03298-2DE3-4757-BE0A-25105F04223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755007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0CFC5D-181E-4E7A-882D-F810D2FDF00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61803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8544E2-BCA6-4468-828D-3BC4F748254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4879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23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10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23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74390B-0F7C-434E-8F78-342D9DBE2B9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31009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354" indent="0">
              <a:buNone/>
              <a:defRPr sz="2800"/>
            </a:lvl2pPr>
            <a:lvl3pPr marL="912714" indent="0">
              <a:buNone/>
              <a:defRPr sz="2400"/>
            </a:lvl3pPr>
            <a:lvl4pPr marL="1369077" indent="0">
              <a:buNone/>
              <a:defRPr sz="2000"/>
            </a:lvl4pPr>
            <a:lvl5pPr marL="1825426" indent="0">
              <a:buNone/>
              <a:defRPr sz="2000"/>
            </a:lvl5pPr>
            <a:lvl6pPr marL="2281780" indent="0">
              <a:buNone/>
              <a:defRPr sz="2000"/>
            </a:lvl6pPr>
            <a:lvl7pPr marL="2738136" indent="0">
              <a:buNone/>
              <a:defRPr sz="2000"/>
            </a:lvl7pPr>
            <a:lvl8pPr marL="3194492" indent="0">
              <a:buNone/>
              <a:defRPr sz="2000"/>
            </a:lvl8pPr>
            <a:lvl9pPr marL="3650846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71E8E9-86BC-446D-8CCE-7460ECCC951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701214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CFB23A-F120-4928-B9A9-71700EE395F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211648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61150" y="-30159"/>
            <a:ext cx="2178050" cy="62023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7000" y="-30159"/>
            <a:ext cx="6381750" cy="62023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C6C8E1-533B-408A-B3EB-9B9D98CD6CA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031133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8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6354" indent="0" algn="ctr">
              <a:buNone/>
              <a:defRPr/>
            </a:lvl2pPr>
            <a:lvl3pPr marL="912714" indent="0" algn="ctr">
              <a:buNone/>
              <a:defRPr/>
            </a:lvl3pPr>
            <a:lvl4pPr marL="1369077" indent="0" algn="ctr">
              <a:buNone/>
              <a:defRPr/>
            </a:lvl4pPr>
            <a:lvl5pPr marL="1825426" indent="0" algn="ctr">
              <a:buNone/>
              <a:defRPr/>
            </a:lvl5pPr>
            <a:lvl6pPr marL="2281780" indent="0" algn="ctr">
              <a:buNone/>
              <a:defRPr/>
            </a:lvl6pPr>
            <a:lvl7pPr marL="2738136" indent="0" algn="ctr">
              <a:buNone/>
              <a:defRPr/>
            </a:lvl7pPr>
            <a:lvl8pPr marL="3194492" indent="0" algn="ctr">
              <a:buNone/>
              <a:defRPr/>
            </a:lvl8pPr>
            <a:lvl9pPr marL="3650846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C15874-C1B4-44EA-A33C-F24CB2FE71A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819222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0" y="159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0" y="159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1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30"/>
          <a:stretch>
            <a:fillRect/>
          </a:stretch>
        </p:blipFill>
        <p:spPr bwMode="auto">
          <a:xfrm>
            <a:off x="4" y="0"/>
            <a:ext cx="8613775" cy="1201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8801" y="6477000"/>
            <a:ext cx="9652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17"/>
          <p:cNvGrpSpPr>
            <a:grpSpLocks/>
          </p:cNvGrpSpPr>
          <p:nvPr/>
        </p:nvGrpSpPr>
        <p:grpSpPr bwMode="auto">
          <a:xfrm>
            <a:off x="7543801" y="228600"/>
            <a:ext cx="1511300" cy="1066800"/>
            <a:chOff x="7543800" y="228600"/>
            <a:chExt cx="1511665" cy="1066800"/>
          </a:xfrm>
        </p:grpSpPr>
        <p:sp>
          <p:nvSpPr>
            <p:cNvPr id="6" name="Freeform 5"/>
            <p:cNvSpPr/>
            <p:nvPr/>
          </p:nvSpPr>
          <p:spPr>
            <a:xfrm rot="10800000">
              <a:off x="8305984" y="838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7" name="Freeform 6"/>
            <p:cNvSpPr/>
            <p:nvPr/>
          </p:nvSpPr>
          <p:spPr>
            <a:xfrm rot="10800000">
              <a:off x="7848674" y="457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68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8" name="Freeform 7"/>
            <p:cNvSpPr/>
            <p:nvPr/>
          </p:nvSpPr>
          <p:spPr>
            <a:xfrm rot="10800000">
              <a:off x="7543800" y="6858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9" name="Freeform 8"/>
            <p:cNvSpPr/>
            <p:nvPr/>
          </p:nvSpPr>
          <p:spPr>
            <a:xfrm rot="10800000">
              <a:off x="8534639" y="5334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0" name="Freeform 9"/>
            <p:cNvSpPr/>
            <p:nvPr/>
          </p:nvSpPr>
          <p:spPr>
            <a:xfrm rot="10800000">
              <a:off x="8229766" y="2286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</p:grpSp>
      <p:sp>
        <p:nvSpPr>
          <p:cNvPr id="11" name="TextBox 4"/>
          <p:cNvSpPr txBox="1">
            <a:spLocks noChangeArrowheads="1"/>
          </p:cNvSpPr>
          <p:nvPr/>
        </p:nvSpPr>
        <p:spPr bwMode="auto">
          <a:xfrm>
            <a:off x="4144976" y="6477018"/>
            <a:ext cx="371874" cy="276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42" rIns="91270" bIns="45642">
            <a:spAutoFit/>
          </a:bodyPr>
          <a:lstStyle>
            <a:lvl1pPr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B818FDC9-7DCF-4379-A76D-8835E7A366DA}" type="slidenum">
              <a:rPr lang="en-US" altLang="en-US" sz="1200" smtClean="0">
                <a:solidFill>
                  <a:srgbClr val="37424A"/>
                </a:solidFill>
              </a:rPr>
              <a:pPr eaLnBrk="1" hangingPunct="1">
                <a:defRPr/>
              </a:pPr>
              <a:t>‹#›</a:t>
            </a:fld>
            <a:endParaRPr lang="en-US" altLang="en-US" sz="1200">
              <a:solidFill>
                <a:srgbClr val="37424A"/>
              </a:solidFill>
            </a:endParaRPr>
          </a:p>
        </p:txBody>
      </p:sp>
      <p:grpSp>
        <p:nvGrpSpPr>
          <p:cNvPr id="12" name="Group 13"/>
          <p:cNvGrpSpPr>
            <a:grpSpLocks/>
          </p:cNvGrpSpPr>
          <p:nvPr userDrawn="1"/>
        </p:nvGrpSpPr>
        <p:grpSpPr bwMode="auto">
          <a:xfrm>
            <a:off x="7543801" y="228600"/>
            <a:ext cx="1511300" cy="1066800"/>
            <a:chOff x="7543800" y="228600"/>
            <a:chExt cx="1511665" cy="1066800"/>
          </a:xfrm>
        </p:grpSpPr>
        <p:sp>
          <p:nvSpPr>
            <p:cNvPr id="13" name="Freeform 12"/>
            <p:cNvSpPr/>
            <p:nvPr/>
          </p:nvSpPr>
          <p:spPr>
            <a:xfrm rot="10800000">
              <a:off x="8305984" y="838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4" name="Freeform 13"/>
            <p:cNvSpPr/>
            <p:nvPr/>
          </p:nvSpPr>
          <p:spPr>
            <a:xfrm rot="10800000">
              <a:off x="7848674" y="457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68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5" name="Freeform 14"/>
            <p:cNvSpPr/>
            <p:nvPr/>
          </p:nvSpPr>
          <p:spPr>
            <a:xfrm rot="10800000">
              <a:off x="7543800" y="6858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6" name="Freeform 15"/>
            <p:cNvSpPr/>
            <p:nvPr/>
          </p:nvSpPr>
          <p:spPr>
            <a:xfrm rot="10800000">
              <a:off x="8534639" y="5334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7" name="Freeform 16"/>
            <p:cNvSpPr/>
            <p:nvPr/>
          </p:nvSpPr>
          <p:spPr>
            <a:xfrm rot="10800000">
              <a:off x="8229766" y="2286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650393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96DFDB-B784-40D0-89AF-985E46A87AE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7192508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6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354" indent="0">
              <a:buNone/>
              <a:defRPr sz="1800"/>
            </a:lvl2pPr>
            <a:lvl3pPr marL="912714" indent="0">
              <a:buNone/>
              <a:defRPr sz="1600"/>
            </a:lvl3pPr>
            <a:lvl4pPr marL="1369077" indent="0">
              <a:buNone/>
              <a:defRPr sz="1400"/>
            </a:lvl4pPr>
            <a:lvl5pPr marL="1825426" indent="0">
              <a:buNone/>
              <a:defRPr sz="1400"/>
            </a:lvl5pPr>
            <a:lvl6pPr marL="2281780" indent="0">
              <a:buNone/>
              <a:defRPr sz="1400"/>
            </a:lvl6pPr>
            <a:lvl7pPr marL="2738136" indent="0">
              <a:buNone/>
              <a:defRPr sz="1400"/>
            </a:lvl7pPr>
            <a:lvl8pPr marL="3194492" indent="0">
              <a:buNone/>
              <a:defRPr sz="1400"/>
            </a:lvl8pPr>
            <a:lvl9pPr marL="3650846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FC1784-6D43-4678-BA3E-4529929F200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7005780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3591E8-4485-458B-9A26-565322F4A2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4608837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54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54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78DCFA-9241-4E30-AEA0-B534508CA58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3917835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03ABE7-C67F-49BC-83DB-838E8F3168A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6799309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BC83A0-82DC-411B-B6CF-FD71A121C12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7346046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23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10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23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613BDC-BCDF-49E2-B308-A3356F2E2B4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2284442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354" indent="0">
              <a:buNone/>
              <a:defRPr sz="2800"/>
            </a:lvl2pPr>
            <a:lvl3pPr marL="912714" indent="0">
              <a:buNone/>
              <a:defRPr sz="2400"/>
            </a:lvl3pPr>
            <a:lvl4pPr marL="1369077" indent="0">
              <a:buNone/>
              <a:defRPr sz="2000"/>
            </a:lvl4pPr>
            <a:lvl5pPr marL="1825426" indent="0">
              <a:buNone/>
              <a:defRPr sz="2000"/>
            </a:lvl5pPr>
            <a:lvl6pPr marL="2281780" indent="0">
              <a:buNone/>
              <a:defRPr sz="2000"/>
            </a:lvl6pPr>
            <a:lvl7pPr marL="2738136" indent="0">
              <a:buNone/>
              <a:defRPr sz="2000"/>
            </a:lvl7pPr>
            <a:lvl8pPr marL="3194492" indent="0">
              <a:buNone/>
              <a:defRPr sz="2000"/>
            </a:lvl8pPr>
            <a:lvl9pPr marL="3650846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BBA092-2B07-4A54-B3FB-884377562F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4937508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99BA6B-01F1-41B7-A839-B9C963FC44B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0737990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122294"/>
            <a:ext cx="2095500" cy="61690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22294"/>
            <a:ext cx="6134100" cy="61690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C31E54-2647-48B6-9AC9-7CF372A62F5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853096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0" y="159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1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0" y="159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30"/>
          <a:stretch>
            <a:fillRect/>
          </a:stretch>
        </p:blipFill>
        <p:spPr bwMode="auto">
          <a:xfrm>
            <a:off x="4" y="0"/>
            <a:ext cx="8613775" cy="1201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8801" y="6477000"/>
            <a:ext cx="9652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17"/>
          <p:cNvGrpSpPr>
            <a:grpSpLocks/>
          </p:cNvGrpSpPr>
          <p:nvPr/>
        </p:nvGrpSpPr>
        <p:grpSpPr bwMode="auto">
          <a:xfrm>
            <a:off x="7543801" y="228600"/>
            <a:ext cx="1511300" cy="1066800"/>
            <a:chOff x="7543800" y="228600"/>
            <a:chExt cx="1511665" cy="1066800"/>
          </a:xfrm>
        </p:grpSpPr>
        <p:sp>
          <p:nvSpPr>
            <p:cNvPr id="8" name="Freeform 7"/>
            <p:cNvSpPr/>
            <p:nvPr/>
          </p:nvSpPr>
          <p:spPr>
            <a:xfrm rot="10800000">
              <a:off x="8305984" y="838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9" name="Freeform 8"/>
            <p:cNvSpPr/>
            <p:nvPr/>
          </p:nvSpPr>
          <p:spPr>
            <a:xfrm rot="10800000">
              <a:off x="7848674" y="457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68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0" name="Freeform 9"/>
            <p:cNvSpPr/>
            <p:nvPr/>
          </p:nvSpPr>
          <p:spPr>
            <a:xfrm rot="10800000">
              <a:off x="7543800" y="6858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1" name="Freeform 10"/>
            <p:cNvSpPr/>
            <p:nvPr/>
          </p:nvSpPr>
          <p:spPr>
            <a:xfrm rot="10800000">
              <a:off x="8534639" y="5334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2" name="Freeform 11"/>
            <p:cNvSpPr/>
            <p:nvPr/>
          </p:nvSpPr>
          <p:spPr>
            <a:xfrm rot="10800000">
              <a:off x="8229766" y="2286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</p:grpSp>
      <p:sp>
        <p:nvSpPr>
          <p:cNvPr id="13" name="TextBox 4"/>
          <p:cNvSpPr txBox="1">
            <a:spLocks noChangeArrowheads="1"/>
          </p:cNvSpPr>
          <p:nvPr/>
        </p:nvSpPr>
        <p:spPr bwMode="auto">
          <a:xfrm>
            <a:off x="4144976" y="6477018"/>
            <a:ext cx="371874" cy="276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42" rIns="91270" bIns="45642">
            <a:spAutoFit/>
          </a:bodyPr>
          <a:lstStyle>
            <a:lvl1pPr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0F8457C4-0478-4319-A700-50DE3384F4BB}" type="slidenum">
              <a:rPr lang="en-US" altLang="en-US" sz="1200" smtClean="0">
                <a:solidFill>
                  <a:srgbClr val="37424A"/>
                </a:solidFill>
              </a:rPr>
              <a:pPr eaLnBrk="1" hangingPunct="1">
                <a:defRPr/>
              </a:pPr>
              <a:t>‹#›</a:t>
            </a:fld>
            <a:endParaRPr lang="en-US" altLang="en-US" sz="1200">
              <a:solidFill>
                <a:srgbClr val="37424A"/>
              </a:solidFill>
            </a:endParaRPr>
          </a:p>
        </p:txBody>
      </p:sp>
      <p:grpSp>
        <p:nvGrpSpPr>
          <p:cNvPr id="14" name="Group 28"/>
          <p:cNvGrpSpPr>
            <a:grpSpLocks/>
          </p:cNvGrpSpPr>
          <p:nvPr userDrawn="1"/>
        </p:nvGrpSpPr>
        <p:grpSpPr bwMode="auto">
          <a:xfrm>
            <a:off x="7543801" y="228600"/>
            <a:ext cx="1511300" cy="1066800"/>
            <a:chOff x="7543800" y="228600"/>
            <a:chExt cx="1511665" cy="1066800"/>
          </a:xfrm>
        </p:grpSpPr>
        <p:sp>
          <p:nvSpPr>
            <p:cNvPr id="15" name="Freeform 14"/>
            <p:cNvSpPr/>
            <p:nvPr/>
          </p:nvSpPr>
          <p:spPr>
            <a:xfrm rot="10800000">
              <a:off x="8305984" y="838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6" name="Freeform 15"/>
            <p:cNvSpPr/>
            <p:nvPr/>
          </p:nvSpPr>
          <p:spPr>
            <a:xfrm rot="10800000">
              <a:off x="7848674" y="457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68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7" name="Freeform 16"/>
            <p:cNvSpPr/>
            <p:nvPr/>
          </p:nvSpPr>
          <p:spPr>
            <a:xfrm rot="10800000">
              <a:off x="7543800" y="6858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8" name="Freeform 17"/>
            <p:cNvSpPr/>
            <p:nvPr/>
          </p:nvSpPr>
          <p:spPr>
            <a:xfrm rot="10800000">
              <a:off x="8534639" y="5334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9" name="Freeform 18"/>
            <p:cNvSpPr/>
            <p:nvPr/>
          </p:nvSpPr>
          <p:spPr>
            <a:xfrm rot="10800000">
              <a:off x="8229766" y="2286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1" y="1483245"/>
            <a:ext cx="8382000" cy="4525963"/>
          </a:xfrm>
        </p:spPr>
        <p:txBody>
          <a:bodyPr/>
          <a:lstStyle>
            <a:lvl1pPr marL="234039" indent="-234039">
              <a:buFont typeface="Wingdings" panose="05000000000000000000" pitchFamily="2" charset="2"/>
              <a:buChar char="Ø"/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7055922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09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6354" indent="0" algn="ctr">
              <a:buNone/>
              <a:defRPr/>
            </a:lvl2pPr>
            <a:lvl3pPr marL="912714" indent="0" algn="ctr">
              <a:buNone/>
              <a:defRPr/>
            </a:lvl3pPr>
            <a:lvl4pPr marL="1369077" indent="0" algn="ctr">
              <a:buNone/>
              <a:defRPr/>
            </a:lvl4pPr>
            <a:lvl5pPr marL="1825426" indent="0" algn="ctr">
              <a:buNone/>
              <a:defRPr/>
            </a:lvl5pPr>
            <a:lvl6pPr marL="2281780" indent="0" algn="ctr">
              <a:buNone/>
              <a:defRPr/>
            </a:lvl6pPr>
            <a:lvl7pPr marL="2738136" indent="0" algn="ctr">
              <a:buNone/>
              <a:defRPr/>
            </a:lvl7pPr>
            <a:lvl8pPr marL="3194492" indent="0" algn="ctr">
              <a:buNone/>
              <a:defRPr/>
            </a:lvl8pPr>
            <a:lvl9pPr marL="3650846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E75128-4E82-4334-87B2-7B046A72F08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9340537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8D68BB-92A4-43CA-9F4B-7C0B7E204F7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6681969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8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354" indent="0">
              <a:buNone/>
              <a:defRPr sz="1800"/>
            </a:lvl2pPr>
            <a:lvl3pPr marL="912714" indent="0">
              <a:buNone/>
              <a:defRPr sz="1600"/>
            </a:lvl3pPr>
            <a:lvl4pPr marL="1369077" indent="0">
              <a:buNone/>
              <a:defRPr sz="1400"/>
            </a:lvl4pPr>
            <a:lvl5pPr marL="1825426" indent="0">
              <a:buNone/>
              <a:defRPr sz="1400"/>
            </a:lvl5pPr>
            <a:lvl6pPr marL="2281780" indent="0">
              <a:buNone/>
              <a:defRPr sz="1400"/>
            </a:lvl6pPr>
            <a:lvl7pPr marL="2738136" indent="0">
              <a:buNone/>
              <a:defRPr sz="1400"/>
            </a:lvl7pPr>
            <a:lvl8pPr marL="3194492" indent="0">
              <a:buNone/>
              <a:defRPr sz="1400"/>
            </a:lvl8pPr>
            <a:lvl9pPr marL="3650846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3FE73B-E4F3-469D-A0C2-26A5401EA6A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2505492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F5CC5AE-CE4E-43BD-9D81-2C6EE3A1EA0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3843322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54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54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6B3D5E-9C2B-4E03-86E0-7F3832F09B5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5328638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A765E6-10B7-402A-A8D2-B27DA729C2C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9964453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AD18F4-16AC-4BEF-97FE-45761CB1A7B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4123809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3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10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3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379DF3-A5B0-4F7C-B6C7-C2216C12B1E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5769094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354" indent="0">
              <a:buNone/>
              <a:defRPr sz="2800"/>
            </a:lvl2pPr>
            <a:lvl3pPr marL="912714" indent="0">
              <a:buNone/>
              <a:defRPr sz="2400"/>
            </a:lvl3pPr>
            <a:lvl4pPr marL="1369077" indent="0">
              <a:buNone/>
              <a:defRPr sz="2000"/>
            </a:lvl4pPr>
            <a:lvl5pPr marL="1825426" indent="0">
              <a:buNone/>
              <a:defRPr sz="2000"/>
            </a:lvl5pPr>
            <a:lvl6pPr marL="2281780" indent="0">
              <a:buNone/>
              <a:defRPr sz="2000"/>
            </a:lvl6pPr>
            <a:lvl7pPr marL="2738136" indent="0">
              <a:buNone/>
              <a:defRPr sz="2000"/>
            </a:lvl7pPr>
            <a:lvl8pPr marL="3194492" indent="0">
              <a:buNone/>
              <a:defRPr sz="2000"/>
            </a:lvl8pPr>
            <a:lvl9pPr marL="3650846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4040805-9D4A-4632-AEE0-3D2AAB63791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7167021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802A00-9016-4D6D-BCCC-6E65F563D1D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074956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 txBox="1">
            <a:spLocks/>
          </p:cNvSpPr>
          <p:nvPr userDrawn="1"/>
        </p:nvSpPr>
        <p:spPr bwMode="auto">
          <a:xfrm>
            <a:off x="4368802" y="6550039"/>
            <a:ext cx="406400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081" tIns="45541" rIns="91081" bIns="45541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sz="1000" kern="120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910863">
              <a:defRPr/>
            </a:pPr>
            <a:endParaRPr lang="en-US" dirty="0">
              <a:solidFill>
                <a:srgbClr val="00877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754789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122294"/>
            <a:ext cx="2095500" cy="61690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22294"/>
            <a:ext cx="6134100" cy="61690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9586AB-C23F-4898-9F56-48A16F89C0E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7434225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64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6354" indent="0" algn="ctr">
              <a:buNone/>
              <a:defRPr/>
            </a:lvl2pPr>
            <a:lvl3pPr marL="912714" indent="0" algn="ctr">
              <a:buNone/>
              <a:defRPr/>
            </a:lvl3pPr>
            <a:lvl4pPr marL="1369077" indent="0" algn="ctr">
              <a:buNone/>
              <a:defRPr/>
            </a:lvl4pPr>
            <a:lvl5pPr marL="1825426" indent="0" algn="ctr">
              <a:buNone/>
              <a:defRPr/>
            </a:lvl5pPr>
            <a:lvl6pPr marL="2281780" indent="0" algn="ctr">
              <a:buNone/>
              <a:defRPr/>
            </a:lvl6pPr>
            <a:lvl7pPr marL="2738136" indent="0" algn="ctr">
              <a:buNone/>
              <a:defRPr/>
            </a:lvl7pPr>
            <a:lvl8pPr marL="3194492" indent="0" algn="ctr">
              <a:buNone/>
              <a:defRPr/>
            </a:lvl8pPr>
            <a:lvl9pPr marL="3650846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645706-A17E-4A00-A4FC-6F5BEFE4137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9512460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4F2D2D-C2C1-49B4-B26B-C18C42DA48A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6236516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39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354" indent="0">
              <a:buNone/>
              <a:defRPr sz="1800"/>
            </a:lvl2pPr>
            <a:lvl3pPr marL="912714" indent="0">
              <a:buNone/>
              <a:defRPr sz="1600"/>
            </a:lvl3pPr>
            <a:lvl4pPr marL="1369077" indent="0">
              <a:buNone/>
              <a:defRPr sz="1400"/>
            </a:lvl4pPr>
            <a:lvl5pPr marL="1825426" indent="0">
              <a:buNone/>
              <a:defRPr sz="1400"/>
            </a:lvl5pPr>
            <a:lvl6pPr marL="2281780" indent="0">
              <a:buNone/>
              <a:defRPr sz="1400"/>
            </a:lvl6pPr>
            <a:lvl7pPr marL="2738136" indent="0">
              <a:buNone/>
              <a:defRPr sz="1400"/>
            </a:lvl7pPr>
            <a:lvl8pPr marL="3194492" indent="0">
              <a:buNone/>
              <a:defRPr sz="1400"/>
            </a:lvl8pPr>
            <a:lvl9pPr marL="3650846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4BF183-5882-4120-8A01-0BACA849532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179954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7474B6-2382-49A7-AC4E-E2AB6BE14F9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1318867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4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4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E78061-D1E4-400D-A2EE-47902C241E5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837974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335796-CEBC-4B04-837C-45493925CCA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5431174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DFFCA3-5C66-4DA6-BB30-B5681697BEA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1167152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23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8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23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AA777E-B142-4D56-8F10-F5426FC561A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0950621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354" indent="0">
              <a:buNone/>
              <a:defRPr sz="2800"/>
            </a:lvl2pPr>
            <a:lvl3pPr marL="912714" indent="0">
              <a:buNone/>
              <a:defRPr sz="2400"/>
            </a:lvl3pPr>
            <a:lvl4pPr marL="1369077" indent="0">
              <a:buNone/>
              <a:defRPr sz="2000"/>
            </a:lvl4pPr>
            <a:lvl5pPr marL="1825426" indent="0">
              <a:buNone/>
              <a:defRPr sz="2000"/>
            </a:lvl5pPr>
            <a:lvl6pPr marL="2281780" indent="0">
              <a:buNone/>
              <a:defRPr sz="2000"/>
            </a:lvl6pPr>
            <a:lvl7pPr marL="2738136" indent="0">
              <a:buNone/>
              <a:defRPr sz="2000"/>
            </a:lvl7pPr>
            <a:lvl8pPr marL="3194492" indent="0">
              <a:buNone/>
              <a:defRPr sz="2000"/>
            </a:lvl8pPr>
            <a:lvl9pPr marL="3650846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25952C-AE61-4082-ADBC-D71E5CE7999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496217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76200"/>
            <a:ext cx="7620000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lIns="91018" tIns="45506" rIns="91018" bIns="45506"/>
          <a:lstStyle>
            <a:lvl1pPr algn="l">
              <a:defRPr sz="32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7740172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409156-DF21-4566-BBD6-BD67B2E744C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6720923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122269"/>
            <a:ext cx="2095500" cy="61690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22269"/>
            <a:ext cx="6134100" cy="61690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5D093B-99F1-41A6-9F2D-08D4E174263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2669176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84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6354" indent="0" algn="ctr">
              <a:buNone/>
              <a:defRPr/>
            </a:lvl2pPr>
            <a:lvl3pPr marL="912714" indent="0" algn="ctr">
              <a:buNone/>
              <a:defRPr/>
            </a:lvl3pPr>
            <a:lvl4pPr marL="1369077" indent="0" algn="ctr">
              <a:buNone/>
              <a:defRPr/>
            </a:lvl4pPr>
            <a:lvl5pPr marL="1825426" indent="0" algn="ctr">
              <a:buNone/>
              <a:defRPr/>
            </a:lvl5pPr>
            <a:lvl6pPr marL="2281780" indent="0" algn="ctr">
              <a:buNone/>
              <a:defRPr/>
            </a:lvl6pPr>
            <a:lvl7pPr marL="2738136" indent="0" algn="ctr">
              <a:buNone/>
              <a:defRPr/>
            </a:lvl7pPr>
            <a:lvl8pPr marL="3194492" indent="0" algn="ctr">
              <a:buNone/>
              <a:defRPr/>
            </a:lvl8pPr>
            <a:lvl9pPr marL="3650846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D80503-F221-4C20-8466-00B1228D35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0404905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A61E3E-9F87-4269-881C-75631A64BC1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5792900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59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354" indent="0">
              <a:buNone/>
              <a:defRPr sz="1800"/>
            </a:lvl2pPr>
            <a:lvl3pPr marL="912714" indent="0">
              <a:buNone/>
              <a:defRPr sz="1600"/>
            </a:lvl3pPr>
            <a:lvl4pPr marL="1369077" indent="0">
              <a:buNone/>
              <a:defRPr sz="1400"/>
            </a:lvl4pPr>
            <a:lvl5pPr marL="1825426" indent="0">
              <a:buNone/>
              <a:defRPr sz="1400"/>
            </a:lvl5pPr>
            <a:lvl6pPr marL="2281780" indent="0">
              <a:buNone/>
              <a:defRPr sz="1400"/>
            </a:lvl6pPr>
            <a:lvl7pPr marL="2738136" indent="0">
              <a:buNone/>
              <a:defRPr sz="1400"/>
            </a:lvl7pPr>
            <a:lvl8pPr marL="3194492" indent="0">
              <a:buNone/>
              <a:defRPr sz="1400"/>
            </a:lvl8pPr>
            <a:lvl9pPr marL="3650846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41993B-1650-4D61-969A-DF05C9E8982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1247727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745EDB-B74F-41FE-9B76-F1D14CB9CEC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8439593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4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4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561BC0-A25D-46C3-A9C0-2B88425A2C6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7146521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F149A1-7189-4FB9-A1AD-69573186D81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0647581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26518F-E6B8-42FC-A676-BF1519E4445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4795909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3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8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3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6FA384-D418-4741-B274-6C80B0F6CD6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56108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8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6354" indent="0" algn="ctr">
              <a:buNone/>
              <a:defRPr/>
            </a:lvl2pPr>
            <a:lvl3pPr marL="912714" indent="0" algn="ctr">
              <a:buNone/>
              <a:defRPr/>
            </a:lvl3pPr>
            <a:lvl4pPr marL="1369077" indent="0" algn="ctr">
              <a:buNone/>
              <a:defRPr/>
            </a:lvl4pPr>
            <a:lvl5pPr marL="1825426" indent="0" algn="ctr">
              <a:buNone/>
              <a:defRPr/>
            </a:lvl5pPr>
            <a:lvl6pPr marL="2281780" indent="0" algn="ctr">
              <a:buNone/>
              <a:defRPr/>
            </a:lvl6pPr>
            <a:lvl7pPr marL="2738136" indent="0" algn="ctr">
              <a:buNone/>
              <a:defRPr/>
            </a:lvl7pPr>
            <a:lvl8pPr marL="3194492" indent="0" algn="ctr">
              <a:buNone/>
              <a:defRPr/>
            </a:lvl8pPr>
            <a:lvl9pPr marL="3650846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895E74-2F21-4C5E-8944-F145F7052DD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1690252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354" indent="0">
              <a:buNone/>
              <a:defRPr sz="2800"/>
            </a:lvl2pPr>
            <a:lvl3pPr marL="912714" indent="0">
              <a:buNone/>
              <a:defRPr sz="2400"/>
            </a:lvl3pPr>
            <a:lvl4pPr marL="1369077" indent="0">
              <a:buNone/>
              <a:defRPr sz="2000"/>
            </a:lvl4pPr>
            <a:lvl5pPr marL="1825426" indent="0">
              <a:buNone/>
              <a:defRPr sz="2000"/>
            </a:lvl5pPr>
            <a:lvl6pPr marL="2281780" indent="0">
              <a:buNone/>
              <a:defRPr sz="2000"/>
            </a:lvl6pPr>
            <a:lvl7pPr marL="2738136" indent="0">
              <a:buNone/>
              <a:defRPr sz="2000"/>
            </a:lvl7pPr>
            <a:lvl8pPr marL="3194492" indent="0">
              <a:buNone/>
              <a:defRPr sz="2000"/>
            </a:lvl8pPr>
            <a:lvl9pPr marL="3650846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F549CF-9E21-4A6B-A377-8C36BBDAF31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3053660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F0E264-F26E-4D3D-9953-E2A9FC73B3E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2198079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122274"/>
            <a:ext cx="2095500" cy="61690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22274"/>
            <a:ext cx="6134100" cy="61690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3DD319-9F7F-43B8-88BF-BBA17FCD3E8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8792143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5" y="1638300"/>
            <a:ext cx="5643563" cy="270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450" y="6215073"/>
            <a:ext cx="1435100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67400" y="2130434"/>
            <a:ext cx="2590800" cy="1470025"/>
          </a:xfrm>
        </p:spPr>
        <p:txBody>
          <a:bodyPr/>
          <a:lstStyle>
            <a:lvl1pPr>
              <a:defRPr>
                <a:solidFill>
                  <a:srgbClr val="37424A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67400" y="3733800"/>
            <a:ext cx="2590800" cy="1447800"/>
          </a:xfrm>
        </p:spPr>
        <p:txBody>
          <a:bodyPr/>
          <a:lstStyle>
            <a:lvl1pPr marL="0" indent="0">
              <a:buFontTx/>
              <a:buNone/>
              <a:defRPr>
                <a:latin typeface="Arial Narrow" pitchFamily="34" charset="0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4317465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7764E7-84A5-49A9-AD94-D9AB1224ED7F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566636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9"/>
            <a:ext cx="7772400" cy="1362075"/>
          </a:xfrm>
        </p:spPr>
        <p:txBody>
          <a:bodyPr anchor="t"/>
          <a:lstStyle>
            <a:lvl1pPr algn="l">
              <a:defRPr sz="41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22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535" indent="0">
              <a:buNone/>
              <a:defRPr sz="1800"/>
            </a:lvl2pPr>
            <a:lvl3pPr marL="913071" indent="0">
              <a:buNone/>
              <a:defRPr sz="1600"/>
            </a:lvl3pPr>
            <a:lvl4pPr marL="1369610" indent="0">
              <a:buNone/>
              <a:defRPr sz="1400"/>
            </a:lvl4pPr>
            <a:lvl5pPr marL="1826148" indent="0">
              <a:buNone/>
              <a:defRPr sz="1400"/>
            </a:lvl5pPr>
            <a:lvl6pPr marL="2282682" indent="0">
              <a:buNone/>
              <a:defRPr sz="1400"/>
            </a:lvl6pPr>
            <a:lvl7pPr marL="2739217" indent="0">
              <a:buNone/>
              <a:defRPr sz="1400"/>
            </a:lvl7pPr>
            <a:lvl8pPr marL="3195751" indent="0">
              <a:buNone/>
              <a:defRPr sz="1400"/>
            </a:lvl8pPr>
            <a:lvl9pPr marL="3652288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B5986C-9057-41B1-B4B2-BF59F41B5647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640007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371600"/>
            <a:ext cx="4114800" cy="4754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1" y="1371600"/>
            <a:ext cx="4114800" cy="4754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25416F-FADD-421A-8AE2-1D0C50D8C48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594229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5117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35" indent="0">
              <a:buNone/>
              <a:defRPr sz="2000" b="1"/>
            </a:lvl2pPr>
            <a:lvl3pPr marL="913071" indent="0">
              <a:buNone/>
              <a:defRPr sz="1800" b="1"/>
            </a:lvl3pPr>
            <a:lvl4pPr marL="1369610" indent="0">
              <a:buNone/>
              <a:defRPr sz="1600" b="1"/>
            </a:lvl4pPr>
            <a:lvl5pPr marL="1826148" indent="0">
              <a:buNone/>
              <a:defRPr sz="1600" b="1"/>
            </a:lvl5pPr>
            <a:lvl6pPr marL="2282682" indent="0">
              <a:buNone/>
              <a:defRPr sz="1600" b="1"/>
            </a:lvl6pPr>
            <a:lvl7pPr marL="2739217" indent="0">
              <a:buNone/>
              <a:defRPr sz="1600" b="1"/>
            </a:lvl7pPr>
            <a:lvl8pPr marL="3195751" indent="0">
              <a:buNone/>
              <a:defRPr sz="1600" b="1"/>
            </a:lvl8pPr>
            <a:lvl9pPr marL="365228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6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7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35" indent="0">
              <a:buNone/>
              <a:defRPr sz="2000" b="1"/>
            </a:lvl2pPr>
            <a:lvl3pPr marL="913071" indent="0">
              <a:buNone/>
              <a:defRPr sz="1800" b="1"/>
            </a:lvl3pPr>
            <a:lvl4pPr marL="1369610" indent="0">
              <a:buNone/>
              <a:defRPr sz="1600" b="1"/>
            </a:lvl4pPr>
            <a:lvl5pPr marL="1826148" indent="0">
              <a:buNone/>
              <a:defRPr sz="1600" b="1"/>
            </a:lvl5pPr>
            <a:lvl6pPr marL="2282682" indent="0">
              <a:buNone/>
              <a:defRPr sz="1600" b="1"/>
            </a:lvl6pPr>
            <a:lvl7pPr marL="2739217" indent="0">
              <a:buNone/>
              <a:defRPr sz="1600" b="1"/>
            </a:lvl7pPr>
            <a:lvl8pPr marL="3195751" indent="0">
              <a:buNone/>
              <a:defRPr sz="1600" b="1"/>
            </a:lvl8pPr>
            <a:lvl9pPr marL="365228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6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D28DF1-CFDB-408D-8C49-6A99DFBB5E4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107756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B335D9-CAAD-45FE-B3F8-A7E8C76685DA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616887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57881E-53D6-4C15-B8C5-36CA237F5948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36533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BCED1A-410A-4089-BDC8-E4ACE700E7B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662515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6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3113"/>
          </a:xfrm>
        </p:spPr>
        <p:txBody>
          <a:bodyPr/>
          <a:lstStyle>
            <a:lvl1pPr>
              <a:defRPr sz="33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6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535" indent="0">
              <a:buNone/>
              <a:defRPr sz="1200"/>
            </a:lvl2pPr>
            <a:lvl3pPr marL="913071" indent="0">
              <a:buNone/>
              <a:defRPr sz="1000"/>
            </a:lvl3pPr>
            <a:lvl4pPr marL="1369610" indent="0">
              <a:buNone/>
              <a:defRPr sz="900"/>
            </a:lvl4pPr>
            <a:lvl5pPr marL="1826148" indent="0">
              <a:buNone/>
              <a:defRPr sz="900"/>
            </a:lvl5pPr>
            <a:lvl6pPr marL="2282682" indent="0">
              <a:buNone/>
              <a:defRPr sz="900"/>
            </a:lvl6pPr>
            <a:lvl7pPr marL="2739217" indent="0">
              <a:buNone/>
              <a:defRPr sz="900"/>
            </a:lvl7pPr>
            <a:lvl8pPr marL="3195751" indent="0">
              <a:buNone/>
              <a:defRPr sz="900"/>
            </a:lvl8pPr>
            <a:lvl9pPr marL="3652288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71E37C-B2E0-4D0C-8BE2-907D9F221CB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284138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300"/>
            </a:lvl1pPr>
            <a:lvl2pPr marL="456535" indent="0">
              <a:buNone/>
              <a:defRPr sz="2800"/>
            </a:lvl2pPr>
            <a:lvl3pPr marL="913071" indent="0">
              <a:buNone/>
              <a:defRPr sz="2400"/>
            </a:lvl3pPr>
            <a:lvl4pPr marL="1369610" indent="0">
              <a:buNone/>
              <a:defRPr sz="2000"/>
            </a:lvl4pPr>
            <a:lvl5pPr marL="1826148" indent="0">
              <a:buNone/>
              <a:defRPr sz="2000"/>
            </a:lvl5pPr>
            <a:lvl6pPr marL="2282682" indent="0">
              <a:buNone/>
              <a:defRPr sz="2000"/>
            </a:lvl6pPr>
            <a:lvl7pPr marL="2739217" indent="0">
              <a:buNone/>
              <a:defRPr sz="2000"/>
            </a:lvl7pPr>
            <a:lvl8pPr marL="3195751" indent="0">
              <a:buNone/>
              <a:defRPr sz="2000"/>
            </a:lvl8pPr>
            <a:lvl9pPr marL="3652288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535" indent="0">
              <a:buNone/>
              <a:defRPr sz="1200"/>
            </a:lvl2pPr>
            <a:lvl3pPr marL="913071" indent="0">
              <a:buNone/>
              <a:defRPr sz="1000"/>
            </a:lvl3pPr>
            <a:lvl4pPr marL="1369610" indent="0">
              <a:buNone/>
              <a:defRPr sz="900"/>
            </a:lvl4pPr>
            <a:lvl5pPr marL="1826148" indent="0">
              <a:buNone/>
              <a:defRPr sz="900"/>
            </a:lvl5pPr>
            <a:lvl6pPr marL="2282682" indent="0">
              <a:buNone/>
              <a:defRPr sz="900"/>
            </a:lvl6pPr>
            <a:lvl7pPr marL="2739217" indent="0">
              <a:buNone/>
              <a:defRPr sz="900"/>
            </a:lvl7pPr>
            <a:lvl8pPr marL="3195751" indent="0">
              <a:buNone/>
              <a:defRPr sz="900"/>
            </a:lvl8pPr>
            <a:lvl9pPr marL="3652288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6649CB-5D5B-4DE6-8055-A9A41BDC076C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877191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91EE08-CA31-4477-A217-7AD8C2A58BAF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320903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0"/>
            <a:ext cx="2095500" cy="61261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0"/>
            <a:ext cx="6134100" cy="61261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1200D2-FAC8-45CE-AAFA-3204439B2BF5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765878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5" y="1638300"/>
            <a:ext cx="5643563" cy="270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450" y="6215073"/>
            <a:ext cx="1435100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67400" y="2130434"/>
            <a:ext cx="2590800" cy="1470025"/>
          </a:xfrm>
        </p:spPr>
        <p:txBody>
          <a:bodyPr/>
          <a:lstStyle>
            <a:lvl1pPr>
              <a:defRPr>
                <a:solidFill>
                  <a:srgbClr val="37424A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67400" y="3733800"/>
            <a:ext cx="2590800" cy="1447800"/>
          </a:xfrm>
        </p:spPr>
        <p:txBody>
          <a:bodyPr/>
          <a:lstStyle>
            <a:lvl1pPr marL="0" indent="0">
              <a:buFontTx/>
              <a:buNone/>
              <a:defRPr>
                <a:latin typeface="Arial Narrow" pitchFamily="34" charset="0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0428174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7764E7-84A5-49A9-AD94-D9AB1224ED7F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871902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9"/>
            <a:ext cx="7772400" cy="1362075"/>
          </a:xfrm>
        </p:spPr>
        <p:txBody>
          <a:bodyPr anchor="t"/>
          <a:lstStyle>
            <a:lvl1pPr algn="l">
              <a:defRPr sz="41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22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817" indent="0">
              <a:buNone/>
              <a:defRPr sz="1800"/>
            </a:lvl2pPr>
            <a:lvl3pPr marL="913634" indent="0">
              <a:buNone/>
              <a:defRPr sz="1600"/>
            </a:lvl3pPr>
            <a:lvl4pPr marL="1370450" indent="0">
              <a:buNone/>
              <a:defRPr sz="1400"/>
            </a:lvl4pPr>
            <a:lvl5pPr marL="1827272" indent="0">
              <a:buNone/>
              <a:defRPr sz="1400"/>
            </a:lvl5pPr>
            <a:lvl6pPr marL="2284087" indent="0">
              <a:buNone/>
              <a:defRPr sz="1400"/>
            </a:lvl6pPr>
            <a:lvl7pPr marL="2740905" indent="0">
              <a:buNone/>
              <a:defRPr sz="1400"/>
            </a:lvl7pPr>
            <a:lvl8pPr marL="3197722" indent="0">
              <a:buNone/>
              <a:defRPr sz="1400"/>
            </a:lvl8pPr>
            <a:lvl9pPr marL="3654538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B5986C-9057-41B1-B4B2-BF59F41B5647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873328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371600"/>
            <a:ext cx="4114800" cy="4754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1" y="1371600"/>
            <a:ext cx="4114800" cy="4754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25416F-FADD-421A-8AE2-1D0C50D8C48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967080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5117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17" indent="0">
              <a:buNone/>
              <a:defRPr sz="2000" b="1"/>
            </a:lvl2pPr>
            <a:lvl3pPr marL="913634" indent="0">
              <a:buNone/>
              <a:defRPr sz="1800" b="1"/>
            </a:lvl3pPr>
            <a:lvl4pPr marL="1370450" indent="0">
              <a:buNone/>
              <a:defRPr sz="1600" b="1"/>
            </a:lvl4pPr>
            <a:lvl5pPr marL="1827272" indent="0">
              <a:buNone/>
              <a:defRPr sz="1600" b="1"/>
            </a:lvl5pPr>
            <a:lvl6pPr marL="2284087" indent="0">
              <a:buNone/>
              <a:defRPr sz="1600" b="1"/>
            </a:lvl6pPr>
            <a:lvl7pPr marL="2740905" indent="0">
              <a:buNone/>
              <a:defRPr sz="1600" b="1"/>
            </a:lvl7pPr>
            <a:lvl8pPr marL="3197722" indent="0">
              <a:buNone/>
              <a:defRPr sz="1600" b="1"/>
            </a:lvl8pPr>
            <a:lvl9pPr marL="365453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6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7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17" indent="0">
              <a:buNone/>
              <a:defRPr sz="2000" b="1"/>
            </a:lvl2pPr>
            <a:lvl3pPr marL="913634" indent="0">
              <a:buNone/>
              <a:defRPr sz="1800" b="1"/>
            </a:lvl3pPr>
            <a:lvl4pPr marL="1370450" indent="0">
              <a:buNone/>
              <a:defRPr sz="1600" b="1"/>
            </a:lvl4pPr>
            <a:lvl5pPr marL="1827272" indent="0">
              <a:buNone/>
              <a:defRPr sz="1600" b="1"/>
            </a:lvl5pPr>
            <a:lvl6pPr marL="2284087" indent="0">
              <a:buNone/>
              <a:defRPr sz="1600" b="1"/>
            </a:lvl6pPr>
            <a:lvl7pPr marL="2740905" indent="0">
              <a:buNone/>
              <a:defRPr sz="1600" b="1"/>
            </a:lvl7pPr>
            <a:lvl8pPr marL="3197722" indent="0">
              <a:buNone/>
              <a:defRPr sz="1600" b="1"/>
            </a:lvl8pPr>
            <a:lvl9pPr marL="365453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6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D28DF1-CFDB-408D-8C49-6A99DFBB5E4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516248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B335D9-CAAD-45FE-B3F8-A7E8C76685DA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79906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6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354" indent="0">
              <a:buNone/>
              <a:defRPr sz="1800"/>
            </a:lvl2pPr>
            <a:lvl3pPr marL="912714" indent="0">
              <a:buNone/>
              <a:defRPr sz="1600"/>
            </a:lvl3pPr>
            <a:lvl4pPr marL="1369077" indent="0">
              <a:buNone/>
              <a:defRPr sz="1400"/>
            </a:lvl4pPr>
            <a:lvl5pPr marL="1825426" indent="0">
              <a:buNone/>
              <a:defRPr sz="1400"/>
            </a:lvl5pPr>
            <a:lvl6pPr marL="2281780" indent="0">
              <a:buNone/>
              <a:defRPr sz="1400"/>
            </a:lvl6pPr>
            <a:lvl7pPr marL="2738136" indent="0">
              <a:buNone/>
              <a:defRPr sz="1400"/>
            </a:lvl7pPr>
            <a:lvl8pPr marL="3194492" indent="0">
              <a:buNone/>
              <a:defRPr sz="1400"/>
            </a:lvl8pPr>
            <a:lvl9pPr marL="3650846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837A95-BF75-441A-85F7-46BF78745DF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9631511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57881E-53D6-4C15-B8C5-36CA237F5948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84837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3113"/>
          </a:xfrm>
        </p:spPr>
        <p:txBody>
          <a:bodyPr/>
          <a:lstStyle>
            <a:lvl1pPr>
              <a:defRPr sz="33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817" indent="0">
              <a:buNone/>
              <a:defRPr sz="1200"/>
            </a:lvl2pPr>
            <a:lvl3pPr marL="913634" indent="0">
              <a:buNone/>
              <a:defRPr sz="1000"/>
            </a:lvl3pPr>
            <a:lvl4pPr marL="1370450" indent="0">
              <a:buNone/>
              <a:defRPr sz="900"/>
            </a:lvl4pPr>
            <a:lvl5pPr marL="1827272" indent="0">
              <a:buNone/>
              <a:defRPr sz="900"/>
            </a:lvl5pPr>
            <a:lvl6pPr marL="2284087" indent="0">
              <a:buNone/>
              <a:defRPr sz="900"/>
            </a:lvl6pPr>
            <a:lvl7pPr marL="2740905" indent="0">
              <a:buNone/>
              <a:defRPr sz="900"/>
            </a:lvl7pPr>
            <a:lvl8pPr marL="3197722" indent="0">
              <a:buNone/>
              <a:defRPr sz="900"/>
            </a:lvl8pPr>
            <a:lvl9pPr marL="3654538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71E37C-B2E0-4D0C-8BE2-907D9F221CB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344865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300"/>
            </a:lvl1pPr>
            <a:lvl2pPr marL="456817" indent="0">
              <a:buNone/>
              <a:defRPr sz="2800"/>
            </a:lvl2pPr>
            <a:lvl3pPr marL="913634" indent="0">
              <a:buNone/>
              <a:defRPr sz="2400"/>
            </a:lvl3pPr>
            <a:lvl4pPr marL="1370450" indent="0">
              <a:buNone/>
              <a:defRPr sz="2000"/>
            </a:lvl4pPr>
            <a:lvl5pPr marL="1827272" indent="0">
              <a:buNone/>
              <a:defRPr sz="2000"/>
            </a:lvl5pPr>
            <a:lvl6pPr marL="2284087" indent="0">
              <a:buNone/>
              <a:defRPr sz="2000"/>
            </a:lvl6pPr>
            <a:lvl7pPr marL="2740905" indent="0">
              <a:buNone/>
              <a:defRPr sz="2000"/>
            </a:lvl7pPr>
            <a:lvl8pPr marL="3197722" indent="0">
              <a:buNone/>
              <a:defRPr sz="2000"/>
            </a:lvl8pPr>
            <a:lvl9pPr marL="3654538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817" indent="0">
              <a:buNone/>
              <a:defRPr sz="1200"/>
            </a:lvl2pPr>
            <a:lvl3pPr marL="913634" indent="0">
              <a:buNone/>
              <a:defRPr sz="1000"/>
            </a:lvl3pPr>
            <a:lvl4pPr marL="1370450" indent="0">
              <a:buNone/>
              <a:defRPr sz="900"/>
            </a:lvl4pPr>
            <a:lvl5pPr marL="1827272" indent="0">
              <a:buNone/>
              <a:defRPr sz="900"/>
            </a:lvl5pPr>
            <a:lvl6pPr marL="2284087" indent="0">
              <a:buNone/>
              <a:defRPr sz="900"/>
            </a:lvl6pPr>
            <a:lvl7pPr marL="2740905" indent="0">
              <a:buNone/>
              <a:defRPr sz="900"/>
            </a:lvl7pPr>
            <a:lvl8pPr marL="3197722" indent="0">
              <a:buNone/>
              <a:defRPr sz="900"/>
            </a:lvl8pPr>
            <a:lvl9pPr marL="3654538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6649CB-5D5B-4DE6-8055-A9A41BDC076C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632827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91EE08-CA31-4477-A217-7AD8C2A58BAF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261499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0"/>
            <a:ext cx="2095500" cy="61261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0"/>
            <a:ext cx="6134100" cy="61261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1200D2-FAC8-45CE-AAFA-3204439B2BF5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06725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5" y="1638300"/>
            <a:ext cx="5643563" cy="270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450" y="6215070"/>
            <a:ext cx="1435100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67400" y="2130433"/>
            <a:ext cx="2590800" cy="1470025"/>
          </a:xfrm>
        </p:spPr>
        <p:txBody>
          <a:bodyPr/>
          <a:lstStyle>
            <a:lvl1pPr>
              <a:defRPr>
                <a:solidFill>
                  <a:srgbClr val="37424A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67400" y="3733800"/>
            <a:ext cx="2590800" cy="1447800"/>
          </a:xfrm>
        </p:spPr>
        <p:txBody>
          <a:bodyPr/>
          <a:lstStyle>
            <a:lvl1pPr marL="0" indent="0">
              <a:buFontTx/>
              <a:buNone/>
              <a:defRPr>
                <a:latin typeface="Arial Narrow" pitchFamily="34" charset="0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6677389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7764E7-84A5-49A9-AD94-D9AB1224ED7F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121485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7"/>
            <a:ext cx="7772400" cy="1362075"/>
          </a:xfrm>
        </p:spPr>
        <p:txBody>
          <a:bodyPr anchor="t"/>
          <a:lstStyle>
            <a:lvl1pPr algn="l">
              <a:defRPr sz="41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20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46" indent="0">
              <a:buNone/>
              <a:defRPr sz="1800"/>
            </a:lvl2pPr>
            <a:lvl3pPr marL="914292" indent="0">
              <a:buNone/>
              <a:defRPr sz="1600"/>
            </a:lvl3pPr>
            <a:lvl4pPr marL="1371437" indent="0">
              <a:buNone/>
              <a:defRPr sz="1400"/>
            </a:lvl4pPr>
            <a:lvl5pPr marL="1828583" indent="0">
              <a:buNone/>
              <a:defRPr sz="1400"/>
            </a:lvl5pPr>
            <a:lvl6pPr marL="2285729" indent="0">
              <a:buNone/>
              <a:defRPr sz="1400"/>
            </a:lvl6pPr>
            <a:lvl7pPr marL="2742875" indent="0">
              <a:buNone/>
              <a:defRPr sz="1400"/>
            </a:lvl7pPr>
            <a:lvl8pPr marL="3200021" indent="0">
              <a:buNone/>
              <a:defRPr sz="1400"/>
            </a:lvl8pPr>
            <a:lvl9pPr marL="3657166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B5986C-9057-41B1-B4B2-BF59F41B5647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2541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371600"/>
            <a:ext cx="4114800" cy="4754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1" y="1371600"/>
            <a:ext cx="4114800" cy="4754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25416F-FADD-421A-8AE2-1D0C50D8C48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806171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5117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6" indent="0">
              <a:buNone/>
              <a:defRPr sz="2000" b="1"/>
            </a:lvl2pPr>
            <a:lvl3pPr marL="914292" indent="0">
              <a:buNone/>
              <a:defRPr sz="1800" b="1"/>
            </a:lvl3pPr>
            <a:lvl4pPr marL="1371437" indent="0">
              <a:buNone/>
              <a:defRPr sz="1600" b="1"/>
            </a:lvl4pPr>
            <a:lvl5pPr marL="1828583" indent="0">
              <a:buNone/>
              <a:defRPr sz="1600" b="1"/>
            </a:lvl5pPr>
            <a:lvl6pPr marL="2285729" indent="0">
              <a:buNone/>
              <a:defRPr sz="1600" b="1"/>
            </a:lvl6pPr>
            <a:lvl7pPr marL="2742875" indent="0">
              <a:buNone/>
              <a:defRPr sz="1600" b="1"/>
            </a:lvl7pPr>
            <a:lvl8pPr marL="3200021" indent="0">
              <a:buNone/>
              <a:defRPr sz="1600" b="1"/>
            </a:lvl8pPr>
            <a:lvl9pPr marL="365716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6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7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6" indent="0">
              <a:buNone/>
              <a:defRPr sz="2000" b="1"/>
            </a:lvl2pPr>
            <a:lvl3pPr marL="914292" indent="0">
              <a:buNone/>
              <a:defRPr sz="1800" b="1"/>
            </a:lvl3pPr>
            <a:lvl4pPr marL="1371437" indent="0">
              <a:buNone/>
              <a:defRPr sz="1600" b="1"/>
            </a:lvl4pPr>
            <a:lvl5pPr marL="1828583" indent="0">
              <a:buNone/>
              <a:defRPr sz="1600" b="1"/>
            </a:lvl5pPr>
            <a:lvl6pPr marL="2285729" indent="0">
              <a:buNone/>
              <a:defRPr sz="1600" b="1"/>
            </a:lvl6pPr>
            <a:lvl7pPr marL="2742875" indent="0">
              <a:buNone/>
              <a:defRPr sz="1600" b="1"/>
            </a:lvl7pPr>
            <a:lvl8pPr marL="3200021" indent="0">
              <a:buNone/>
              <a:defRPr sz="1600" b="1"/>
            </a:lvl8pPr>
            <a:lvl9pPr marL="365716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6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D28DF1-CFDB-408D-8C49-6A99DFBB5E4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3892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96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0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image" Target="../media/image10.jpe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108.xml"/><Relationship Id="rId7" Type="http://schemas.openxmlformats.org/officeDocument/2006/relationships/image" Target="../media/image13.emf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image" Target="../media/image12.jpeg"/><Relationship Id="rId5" Type="http://schemas.openxmlformats.org/officeDocument/2006/relationships/theme" Target="../theme/theme11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109.xml"/><Relationship Id="rId9" Type="http://schemas.openxmlformats.org/officeDocument/2006/relationships/image" Target="../media/image15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.xml"/><Relationship Id="rId13" Type="http://schemas.openxmlformats.org/officeDocument/2006/relationships/tags" Target="../tags/tag9.xml"/><Relationship Id="rId3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116.xml"/><Relationship Id="rId12" Type="http://schemas.openxmlformats.org/officeDocument/2006/relationships/theme" Target="../theme/theme12.xml"/><Relationship Id="rId17" Type="http://schemas.openxmlformats.org/officeDocument/2006/relationships/image" Target="../media/image7.png"/><Relationship Id="rId2" Type="http://schemas.openxmlformats.org/officeDocument/2006/relationships/slideLayout" Target="../slideLayouts/slideLayout111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slideLayout" Target="../slideLayouts/slideLayout120.xml"/><Relationship Id="rId5" Type="http://schemas.openxmlformats.org/officeDocument/2006/relationships/slideLayout" Target="../slideLayouts/slideLayout114.xml"/><Relationship Id="rId15" Type="http://schemas.openxmlformats.org/officeDocument/2006/relationships/tags" Target="../tags/tag11.xml"/><Relationship Id="rId10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Relationship Id="rId14" Type="http://schemas.openxmlformats.org/officeDocument/2006/relationships/tags" Target="../tags/tag10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slideLayout" Target="../slideLayouts/slideLayout133.xml"/><Relationship Id="rId18" Type="http://schemas.openxmlformats.org/officeDocument/2006/relationships/slideLayout" Target="../slideLayouts/slideLayout138.xml"/><Relationship Id="rId26" Type="http://schemas.openxmlformats.org/officeDocument/2006/relationships/slideLayout" Target="../slideLayouts/slideLayout146.xml"/><Relationship Id="rId39" Type="http://schemas.openxmlformats.org/officeDocument/2006/relationships/slideLayout" Target="../slideLayouts/slideLayout159.xml"/><Relationship Id="rId3" Type="http://schemas.openxmlformats.org/officeDocument/2006/relationships/slideLayout" Target="../slideLayouts/slideLayout123.xml"/><Relationship Id="rId21" Type="http://schemas.openxmlformats.org/officeDocument/2006/relationships/slideLayout" Target="../slideLayouts/slideLayout141.xml"/><Relationship Id="rId34" Type="http://schemas.openxmlformats.org/officeDocument/2006/relationships/slideLayout" Target="../slideLayouts/slideLayout154.xml"/><Relationship Id="rId42" Type="http://schemas.openxmlformats.org/officeDocument/2006/relationships/tags" Target="../tags/tag12.xml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17" Type="http://schemas.openxmlformats.org/officeDocument/2006/relationships/slideLayout" Target="../slideLayouts/slideLayout137.xml"/><Relationship Id="rId25" Type="http://schemas.openxmlformats.org/officeDocument/2006/relationships/slideLayout" Target="../slideLayouts/slideLayout145.xml"/><Relationship Id="rId33" Type="http://schemas.openxmlformats.org/officeDocument/2006/relationships/slideLayout" Target="../slideLayouts/slideLayout153.xml"/><Relationship Id="rId38" Type="http://schemas.openxmlformats.org/officeDocument/2006/relationships/slideLayout" Target="../slideLayouts/slideLayout158.xml"/><Relationship Id="rId2" Type="http://schemas.openxmlformats.org/officeDocument/2006/relationships/slideLayout" Target="../slideLayouts/slideLayout122.xml"/><Relationship Id="rId16" Type="http://schemas.openxmlformats.org/officeDocument/2006/relationships/slideLayout" Target="../slideLayouts/slideLayout136.xml"/><Relationship Id="rId20" Type="http://schemas.openxmlformats.org/officeDocument/2006/relationships/slideLayout" Target="../slideLayouts/slideLayout140.xml"/><Relationship Id="rId29" Type="http://schemas.openxmlformats.org/officeDocument/2006/relationships/slideLayout" Target="../slideLayouts/slideLayout149.xml"/><Relationship Id="rId41" Type="http://schemas.openxmlformats.org/officeDocument/2006/relationships/vmlDrawing" Target="../drawings/vmlDrawing8.v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24" Type="http://schemas.openxmlformats.org/officeDocument/2006/relationships/slideLayout" Target="../slideLayouts/slideLayout144.xml"/><Relationship Id="rId32" Type="http://schemas.openxmlformats.org/officeDocument/2006/relationships/slideLayout" Target="../slideLayouts/slideLayout152.xml"/><Relationship Id="rId37" Type="http://schemas.openxmlformats.org/officeDocument/2006/relationships/slideLayout" Target="../slideLayouts/slideLayout157.xml"/><Relationship Id="rId40" Type="http://schemas.openxmlformats.org/officeDocument/2006/relationships/theme" Target="../theme/theme13.xml"/><Relationship Id="rId5" Type="http://schemas.openxmlformats.org/officeDocument/2006/relationships/slideLayout" Target="../slideLayouts/slideLayout125.xml"/><Relationship Id="rId15" Type="http://schemas.openxmlformats.org/officeDocument/2006/relationships/slideLayout" Target="../slideLayouts/slideLayout135.xml"/><Relationship Id="rId23" Type="http://schemas.openxmlformats.org/officeDocument/2006/relationships/slideLayout" Target="../slideLayouts/slideLayout143.xml"/><Relationship Id="rId28" Type="http://schemas.openxmlformats.org/officeDocument/2006/relationships/slideLayout" Target="../slideLayouts/slideLayout148.xml"/><Relationship Id="rId36" Type="http://schemas.openxmlformats.org/officeDocument/2006/relationships/slideLayout" Target="../slideLayouts/slideLayout156.xml"/><Relationship Id="rId10" Type="http://schemas.openxmlformats.org/officeDocument/2006/relationships/slideLayout" Target="../slideLayouts/slideLayout130.xml"/><Relationship Id="rId19" Type="http://schemas.openxmlformats.org/officeDocument/2006/relationships/slideLayout" Target="../slideLayouts/slideLayout139.xml"/><Relationship Id="rId31" Type="http://schemas.openxmlformats.org/officeDocument/2006/relationships/slideLayout" Target="../slideLayouts/slideLayout151.xml"/><Relationship Id="rId44" Type="http://schemas.openxmlformats.org/officeDocument/2006/relationships/image" Target="../media/image22.emf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slideLayout" Target="../slideLayouts/slideLayout134.xml"/><Relationship Id="rId22" Type="http://schemas.openxmlformats.org/officeDocument/2006/relationships/slideLayout" Target="../slideLayouts/slideLayout142.xml"/><Relationship Id="rId27" Type="http://schemas.openxmlformats.org/officeDocument/2006/relationships/slideLayout" Target="../slideLayouts/slideLayout147.xml"/><Relationship Id="rId30" Type="http://schemas.openxmlformats.org/officeDocument/2006/relationships/slideLayout" Target="../slideLayouts/slideLayout150.xml"/><Relationship Id="rId35" Type="http://schemas.openxmlformats.org/officeDocument/2006/relationships/slideLayout" Target="../slideLayouts/slideLayout155.xml"/><Relationship Id="rId43" Type="http://schemas.openxmlformats.org/officeDocument/2006/relationships/oleObject" Target="../embeddings/oleObject8.bin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7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162.xml"/><Relationship Id="rId7" Type="http://schemas.openxmlformats.org/officeDocument/2006/relationships/slideLayout" Target="../slideLayouts/slideLayout166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61.xml"/><Relationship Id="rId1" Type="http://schemas.openxmlformats.org/officeDocument/2006/relationships/slideLayout" Target="../slideLayouts/slideLayout160.xml"/><Relationship Id="rId6" Type="http://schemas.openxmlformats.org/officeDocument/2006/relationships/slideLayout" Target="../slideLayouts/slideLayout165.xml"/><Relationship Id="rId11" Type="http://schemas.openxmlformats.org/officeDocument/2006/relationships/slideLayout" Target="../slideLayouts/slideLayout170.xml"/><Relationship Id="rId5" Type="http://schemas.openxmlformats.org/officeDocument/2006/relationships/slideLayout" Target="../slideLayouts/slideLayout164.xml"/><Relationship Id="rId10" Type="http://schemas.openxmlformats.org/officeDocument/2006/relationships/slideLayout" Target="../slideLayouts/slideLayout169.xml"/><Relationship Id="rId4" Type="http://schemas.openxmlformats.org/officeDocument/2006/relationships/slideLayout" Target="../slideLayouts/slideLayout163.xml"/><Relationship Id="rId9" Type="http://schemas.openxmlformats.org/officeDocument/2006/relationships/slideLayout" Target="../slideLayouts/slideLayout168.xml"/><Relationship Id="rId14" Type="http://schemas.openxmlformats.org/officeDocument/2006/relationships/image" Target="../media/image10.jpe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8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173.xml"/><Relationship Id="rId7" Type="http://schemas.openxmlformats.org/officeDocument/2006/relationships/slideLayout" Target="../slideLayouts/slideLayout177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72.xml"/><Relationship Id="rId1" Type="http://schemas.openxmlformats.org/officeDocument/2006/relationships/slideLayout" Target="../slideLayouts/slideLayout171.xml"/><Relationship Id="rId6" Type="http://schemas.openxmlformats.org/officeDocument/2006/relationships/slideLayout" Target="../slideLayouts/slideLayout176.xml"/><Relationship Id="rId11" Type="http://schemas.openxmlformats.org/officeDocument/2006/relationships/slideLayout" Target="../slideLayouts/slideLayout181.xml"/><Relationship Id="rId5" Type="http://schemas.openxmlformats.org/officeDocument/2006/relationships/slideLayout" Target="../slideLayouts/slideLayout175.xml"/><Relationship Id="rId10" Type="http://schemas.openxmlformats.org/officeDocument/2006/relationships/slideLayout" Target="../slideLayouts/slideLayout180.xml"/><Relationship Id="rId4" Type="http://schemas.openxmlformats.org/officeDocument/2006/relationships/slideLayout" Target="../slideLayouts/slideLayout174.xml"/><Relationship Id="rId9" Type="http://schemas.openxmlformats.org/officeDocument/2006/relationships/slideLayout" Target="../slideLayouts/slideLayout17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3.xml"/><Relationship Id="rId17" Type="http://schemas.openxmlformats.org/officeDocument/2006/relationships/image" Target="../media/image7.png"/><Relationship Id="rId2" Type="http://schemas.openxmlformats.org/officeDocument/2006/relationships/slideLayout" Target="../slideLayouts/slideLayout19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8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tags" Target="../tags/tag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82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image" Target="../media/image10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0" Type="http://schemas.openxmlformats.org/officeDocument/2006/relationships/slideLayout" Target="../slideLayouts/slideLayout9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image" Target="../media/image10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3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610" y="159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205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0" y="159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1" name="Picture 19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30"/>
          <a:stretch>
            <a:fillRect/>
          </a:stretch>
        </p:blipFill>
        <p:spPr bwMode="auto">
          <a:xfrm>
            <a:off x="4" y="0"/>
            <a:ext cx="8613775" cy="1201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600214"/>
            <a:ext cx="83820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081" tIns="45541" rIns="91081" bIns="4554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2053" name="Picture 6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8801" y="6477000"/>
            <a:ext cx="9652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76200"/>
            <a:ext cx="7620000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081" tIns="45541" rIns="91081" bIns="4554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2055" name="Group 17"/>
          <p:cNvGrpSpPr>
            <a:grpSpLocks/>
          </p:cNvGrpSpPr>
          <p:nvPr/>
        </p:nvGrpSpPr>
        <p:grpSpPr bwMode="auto">
          <a:xfrm>
            <a:off x="7543801" y="228600"/>
            <a:ext cx="1511300" cy="1066800"/>
            <a:chOff x="7543800" y="228600"/>
            <a:chExt cx="1511665" cy="1066800"/>
          </a:xfrm>
        </p:grpSpPr>
        <p:sp>
          <p:nvSpPr>
            <p:cNvPr id="19" name="Freeform 18"/>
            <p:cNvSpPr/>
            <p:nvPr/>
          </p:nvSpPr>
          <p:spPr>
            <a:xfrm rot="10800000">
              <a:off x="8305984" y="838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21" name="Freeform 20"/>
            <p:cNvSpPr/>
            <p:nvPr/>
          </p:nvSpPr>
          <p:spPr>
            <a:xfrm rot="10800000">
              <a:off x="7848674" y="457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68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22" name="Freeform 21"/>
            <p:cNvSpPr/>
            <p:nvPr/>
          </p:nvSpPr>
          <p:spPr>
            <a:xfrm rot="10800000">
              <a:off x="7543800" y="6858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23" name="Freeform 22"/>
            <p:cNvSpPr/>
            <p:nvPr/>
          </p:nvSpPr>
          <p:spPr>
            <a:xfrm rot="10800000">
              <a:off x="8534639" y="5334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24" name="Freeform 23"/>
            <p:cNvSpPr/>
            <p:nvPr/>
          </p:nvSpPr>
          <p:spPr>
            <a:xfrm rot="10800000">
              <a:off x="8229766" y="2286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</p:grpSp>
      <p:sp>
        <p:nvSpPr>
          <p:cNvPr id="2056" name="TextBox 4"/>
          <p:cNvSpPr txBox="1">
            <a:spLocks noChangeArrowheads="1"/>
          </p:cNvSpPr>
          <p:nvPr/>
        </p:nvSpPr>
        <p:spPr bwMode="auto">
          <a:xfrm>
            <a:off x="4144976" y="6477018"/>
            <a:ext cx="371874" cy="276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42" rIns="91270" bIns="45642">
            <a:spAutoFit/>
          </a:bodyPr>
          <a:lstStyle>
            <a:lvl1pPr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FA8E8656-0EB3-44AD-BDFB-3C500B7648B9}" type="slidenum">
              <a:rPr lang="en-US" altLang="en-US" sz="1200" smtClean="0">
                <a:solidFill>
                  <a:srgbClr val="37424A"/>
                </a:solidFill>
              </a:rPr>
              <a:pPr eaLnBrk="1" hangingPunct="1">
                <a:defRPr/>
              </a:pPr>
              <a:t>‹#›</a:t>
            </a:fld>
            <a:endParaRPr lang="en-US" altLang="en-US" sz="1200">
              <a:solidFill>
                <a:srgbClr val="37424A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103" r:id="rId1"/>
    <p:sldLayoutId id="2147485104" r:id="rId2"/>
    <p:sldLayoutId id="2147485105" r:id="rId3"/>
    <p:sldLayoutId id="2147485106" r:id="rId4"/>
    <p:sldLayoutId id="2147485107" r:id="rId5"/>
    <p:sldLayoutId id="2147485024" r:id="rId6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Arial" panose="020B0604020202020204" pitchFamily="34" charset="0"/>
          <a:ea typeface="MS PGothic" panose="020B0600070205080204" pitchFamily="34" charset="-128"/>
          <a:cs typeface="Arial" panose="020B060402020202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MS PGothic" panose="020B0600070205080204" pitchFamily="34" charset="-128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MS PGothic" panose="020B0600070205080204" pitchFamily="34" charset="-128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MS PGothic" panose="020B0600070205080204" pitchFamily="34" charset="-128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MS PGothic" panose="020B0600070205080204" pitchFamily="34" charset="-128"/>
          <a:cs typeface="Arial" charset="0"/>
        </a:defRPr>
      </a:lvl5pPr>
      <a:lvl6pPr marL="45543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 Narrow" pitchFamily="34" charset="0"/>
          <a:cs typeface="Arial" charset="0"/>
        </a:defRPr>
      </a:lvl6pPr>
      <a:lvl7pPr marL="91086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 Narrow" pitchFamily="34" charset="0"/>
          <a:cs typeface="Arial" charset="0"/>
        </a:defRPr>
      </a:lvl7pPr>
      <a:lvl8pPr marL="136629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 Narrow" pitchFamily="34" charset="0"/>
          <a:cs typeface="Arial" charset="0"/>
        </a:defRPr>
      </a:lvl8pPr>
      <a:lvl9pPr marL="182171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 Narrow" pitchFamily="34" charset="0"/>
          <a:cs typeface="Arial" charset="0"/>
        </a:defRPr>
      </a:lvl9pPr>
    </p:titleStyle>
    <p:bodyStyle>
      <a:lvl1pPr marL="232931" indent="-232931" algn="l" rtl="0" eaLnBrk="0" fontAlgn="base" hangingPunct="0">
        <a:spcBef>
          <a:spcPct val="20000"/>
        </a:spcBef>
        <a:spcAft>
          <a:spcPct val="0"/>
        </a:spcAft>
        <a:buClr>
          <a:srgbClr val="F79646"/>
        </a:buClr>
        <a:buChar char="•"/>
        <a:defRPr sz="20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565692" indent="-217089" algn="l" rtl="0" eaLnBrk="0" fontAlgn="base" hangingPunct="0">
        <a:spcBef>
          <a:spcPct val="20000"/>
        </a:spcBef>
        <a:spcAft>
          <a:spcPct val="0"/>
        </a:spcAft>
        <a:buClr>
          <a:srgbClr val="BFBFBF"/>
        </a:buClr>
        <a:buFont typeface="Arial" pitchFamily="34" charset="0"/>
        <a:buChar char="–"/>
        <a:defRPr sz="1400">
          <a:solidFill>
            <a:schemeClr val="tx1"/>
          </a:solidFill>
          <a:latin typeface="+mn-lt"/>
          <a:ea typeface="Arial" charset="0"/>
          <a:cs typeface="+mn-cs"/>
        </a:defRPr>
      </a:lvl2pPr>
      <a:lvl3pPr marL="854085" indent="-174301" algn="l" rtl="0" eaLnBrk="0" fontAlgn="base" hangingPunct="0">
        <a:spcBef>
          <a:spcPct val="20000"/>
        </a:spcBef>
        <a:spcAft>
          <a:spcPct val="0"/>
        </a:spcAft>
        <a:buClr>
          <a:srgbClr val="8CC7BA"/>
        </a:buClr>
        <a:buSzPct val="90000"/>
        <a:buChar char="•"/>
        <a:defRPr sz="1200">
          <a:solidFill>
            <a:schemeClr val="tx1"/>
          </a:solidFill>
          <a:latin typeface="+mn-lt"/>
          <a:ea typeface="Arial" charset="0"/>
          <a:cs typeface="+mn-cs"/>
        </a:defRPr>
      </a:lvl3pPr>
      <a:lvl4pPr marL="1199518" indent="-229766" algn="l" rtl="0" eaLnBrk="0" fontAlgn="base" hangingPunct="0">
        <a:spcBef>
          <a:spcPct val="20000"/>
        </a:spcBef>
        <a:spcAft>
          <a:spcPct val="0"/>
        </a:spcAft>
        <a:buChar char="–"/>
        <a:defRPr sz="1000">
          <a:solidFill>
            <a:schemeClr val="tx1"/>
          </a:solidFill>
          <a:latin typeface="+mn-lt"/>
          <a:ea typeface="Arial" charset="0"/>
          <a:cs typeface="+mn-cs"/>
        </a:defRPr>
      </a:lvl4pPr>
      <a:lvl5pPr marL="2048856" indent="-226594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Arial" charset="0"/>
          <a:cs typeface="+mn-cs"/>
        </a:defRPr>
      </a:lvl5pPr>
      <a:lvl6pPr marL="2504868" indent="-227717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60294" indent="-227717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15724" indent="-227717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71153" indent="-227717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436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0863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292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1717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7147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2581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8007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3434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8610600" cy="1100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0"/>
            <a:ext cx="7620000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0" tIns="45715" rIns="91430" bIns="4571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371600"/>
            <a:ext cx="8382000" cy="4754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52400" y="6473833"/>
            <a:ext cx="685800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>
            <a:lvl1pPr algn="l">
              <a:buFontTx/>
              <a:buNone/>
              <a:defRPr sz="1000">
                <a:solidFill>
                  <a:schemeClr val="bg2"/>
                </a:solidFill>
              </a:defRPr>
            </a:lvl1pPr>
          </a:lstStyle>
          <a:p>
            <a:pPr defTabSz="914292">
              <a:defRPr/>
            </a:pPr>
            <a:fld id="{008BD1BD-F4A2-493B-8BA3-1D79115EC300}" type="slidenum">
              <a:rPr lang="en-US">
                <a:solidFill>
                  <a:srgbClr val="808080"/>
                </a:solidFill>
                <a:latin typeface="Arial"/>
                <a:cs typeface="Arial"/>
              </a:rPr>
              <a:pPr defTabSz="914292">
                <a:defRPr/>
              </a:pPr>
              <a:t>‹#›</a:t>
            </a:fld>
            <a:endParaRPr lang="en-US" dirty="0">
              <a:solidFill>
                <a:srgbClr val="808080"/>
              </a:solidFill>
              <a:latin typeface="Arial"/>
              <a:cs typeface="Arial"/>
            </a:endParaRPr>
          </a:p>
        </p:txBody>
      </p:sp>
      <p:pic>
        <p:nvPicPr>
          <p:cNvPr id="2" name="Picture 6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450" y="6215070"/>
            <a:ext cx="1435100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134956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73" r:id="rId1"/>
    <p:sldLayoutId id="2147485274" r:id="rId2"/>
    <p:sldLayoutId id="2147485275" r:id="rId3"/>
    <p:sldLayoutId id="2147485276" r:id="rId4"/>
    <p:sldLayoutId id="2147485277" r:id="rId5"/>
    <p:sldLayoutId id="2147485278" r:id="rId6"/>
    <p:sldLayoutId id="2147485279" r:id="rId7"/>
    <p:sldLayoutId id="2147485280" r:id="rId8"/>
    <p:sldLayoutId id="2147485281" r:id="rId9"/>
    <p:sldLayoutId id="2147485282" r:id="rId10"/>
    <p:sldLayoutId id="2147485283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5pPr>
      <a:lvl6pPr marL="457146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6pPr>
      <a:lvl7pPr marL="914292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7pPr>
      <a:lvl8pPr marL="1371437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8pPr>
      <a:lvl9pPr marL="1828583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9pPr>
    </p:titleStyle>
    <p:bodyStyle>
      <a:lvl1pPr marL="228573" indent="-228573" algn="l" rtl="0" eaLnBrk="0" fontAlgn="base" hangingPunct="0">
        <a:lnSpc>
          <a:spcPct val="95000"/>
        </a:lnSpc>
        <a:spcBef>
          <a:spcPct val="40000"/>
        </a:spcBef>
        <a:spcAft>
          <a:spcPct val="10000"/>
        </a:spcAft>
        <a:buClr>
          <a:schemeClr val="accent1"/>
        </a:buClr>
        <a:buChar char="•"/>
        <a:tabLst>
          <a:tab pos="114286" algn="l"/>
        </a:tabLst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571432" indent="-228573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lr>
          <a:srgbClr val="B3A79F"/>
        </a:buClr>
        <a:buFont typeface="Arial" charset="0"/>
        <a:buChar char="–"/>
        <a:tabLst>
          <a:tab pos="114286" algn="l"/>
        </a:tabLst>
        <a:defRPr sz="2400">
          <a:solidFill>
            <a:schemeClr val="tx1"/>
          </a:solidFill>
          <a:latin typeface="+mn-lt"/>
          <a:cs typeface="+mn-cs"/>
        </a:defRPr>
      </a:lvl2pPr>
      <a:lvl3pPr marL="857148" indent="-171429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lr>
          <a:srgbClr val="8CC7BA"/>
        </a:buClr>
        <a:buChar char="•"/>
        <a:tabLst>
          <a:tab pos="114286" algn="l"/>
        </a:tabLst>
        <a:defRPr sz="2400">
          <a:solidFill>
            <a:schemeClr val="tx1"/>
          </a:solidFill>
          <a:latin typeface="+mn-lt"/>
          <a:cs typeface="+mn-cs"/>
        </a:defRPr>
      </a:lvl3pPr>
      <a:lvl4pPr marL="1200007" indent="-228573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har char="–"/>
        <a:tabLst>
          <a:tab pos="114286" algn="l"/>
        </a:tabLst>
        <a:defRPr sz="2000">
          <a:solidFill>
            <a:schemeClr val="tx1"/>
          </a:solidFill>
          <a:latin typeface="+mn-lt"/>
          <a:cs typeface="+mn-cs"/>
        </a:defRPr>
      </a:lvl4pPr>
      <a:lvl5pPr marL="2057157" indent="-228573" algn="l" rtl="0" eaLnBrk="0" fontAlgn="base" hangingPunct="0">
        <a:spcBef>
          <a:spcPct val="20000"/>
        </a:spcBef>
        <a:spcAft>
          <a:spcPct val="0"/>
        </a:spcAft>
        <a:buChar char="»"/>
        <a:tabLst>
          <a:tab pos="114286" algn="l"/>
        </a:tabLst>
        <a:defRPr sz="2000">
          <a:solidFill>
            <a:schemeClr val="tx1"/>
          </a:solidFill>
          <a:latin typeface="+mn-lt"/>
          <a:cs typeface="+mn-cs"/>
        </a:defRPr>
      </a:lvl5pPr>
      <a:lvl6pPr marL="2514302" indent="-228573" algn="l" rtl="0" fontAlgn="base">
        <a:spcBef>
          <a:spcPct val="20000"/>
        </a:spcBef>
        <a:spcAft>
          <a:spcPct val="0"/>
        </a:spcAft>
        <a:buChar char="»"/>
        <a:tabLst>
          <a:tab pos="114286" algn="l"/>
        </a:tabLst>
        <a:defRPr sz="2000">
          <a:solidFill>
            <a:schemeClr val="tx1"/>
          </a:solidFill>
          <a:latin typeface="+mn-lt"/>
          <a:cs typeface="+mn-cs"/>
        </a:defRPr>
      </a:lvl6pPr>
      <a:lvl7pPr marL="2971447" indent="-228573" algn="l" rtl="0" fontAlgn="base">
        <a:spcBef>
          <a:spcPct val="20000"/>
        </a:spcBef>
        <a:spcAft>
          <a:spcPct val="0"/>
        </a:spcAft>
        <a:buChar char="»"/>
        <a:tabLst>
          <a:tab pos="114286" algn="l"/>
        </a:tabLst>
        <a:defRPr sz="2000">
          <a:solidFill>
            <a:schemeClr val="tx1"/>
          </a:solidFill>
          <a:latin typeface="+mn-lt"/>
          <a:cs typeface="+mn-cs"/>
        </a:defRPr>
      </a:lvl7pPr>
      <a:lvl8pPr marL="3428593" indent="-228573" algn="l" rtl="0" fontAlgn="base">
        <a:spcBef>
          <a:spcPct val="20000"/>
        </a:spcBef>
        <a:spcAft>
          <a:spcPct val="0"/>
        </a:spcAft>
        <a:buChar char="»"/>
        <a:tabLst>
          <a:tab pos="114286" algn="l"/>
        </a:tabLst>
        <a:defRPr sz="2000">
          <a:solidFill>
            <a:schemeClr val="tx1"/>
          </a:solidFill>
          <a:latin typeface="+mn-lt"/>
          <a:cs typeface="+mn-cs"/>
        </a:defRPr>
      </a:lvl8pPr>
      <a:lvl9pPr marL="3885739" indent="-228573" algn="l" rtl="0" fontAlgn="base">
        <a:spcBef>
          <a:spcPct val="20000"/>
        </a:spcBef>
        <a:spcAft>
          <a:spcPct val="0"/>
        </a:spcAft>
        <a:buChar char="»"/>
        <a:tabLst>
          <a:tab pos="114286" algn="l"/>
        </a:tabLst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2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7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3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9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5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1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6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6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1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430338" y="228601"/>
            <a:ext cx="7408862" cy="1209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2151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1728789"/>
            <a:ext cx="8445500" cy="439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6473831"/>
            <a:ext cx="406400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buFontTx/>
              <a:buNone/>
              <a:defRPr sz="10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EDB1CEB0-146D-41E0-B6B4-7C5A5D6A1FA2}" type="slidenum">
              <a:rPr lang="en-US" smtClean="0">
                <a:solidFill>
                  <a:srgbClr val="00877C"/>
                </a:solidFill>
                <a:latin typeface="Arial"/>
                <a:cs typeface="Arial"/>
              </a:rPr>
              <a:pPr>
                <a:defRPr/>
              </a:pPr>
              <a:t>‹#›</a:t>
            </a:fld>
            <a:endParaRPr lang="en-US" dirty="0">
              <a:solidFill>
                <a:srgbClr val="00877C"/>
              </a:solidFill>
              <a:latin typeface="Arial"/>
              <a:cs typeface="Arial"/>
            </a:endParaRPr>
          </a:p>
        </p:txBody>
      </p:sp>
      <p:pic>
        <p:nvPicPr>
          <p:cNvPr id="6" name="Picture 5" descr="merck_be_well_green_gray.eps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2472" y="6355080"/>
            <a:ext cx="1008888" cy="307848"/>
          </a:xfrm>
          <a:prstGeom prst="rect">
            <a:avLst/>
          </a:prstGeom>
        </p:spPr>
      </p:pic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174" y="6340110"/>
            <a:ext cx="2356138" cy="374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7669" y="6559422"/>
            <a:ext cx="659606" cy="2642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002" y="0"/>
            <a:ext cx="1208001" cy="120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6908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99" r:id="rId1"/>
    <p:sldLayoutId id="2147485300" r:id="rId2"/>
    <p:sldLayoutId id="2147485301" r:id="rId3"/>
    <p:sldLayoutId id="2147485302" r:id="rId4"/>
  </p:sldLayoutIdLst>
  <p:hf hdr="0" ftr="0" dt="0"/>
  <p:txStyles>
    <p:titleStyle>
      <a:lvl1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9pPr>
    </p:titleStyle>
    <p:bodyStyle>
      <a:lvl1pPr marL="342900" indent="-342900" algn="l" rtl="0" eaLnBrk="1" fontAlgn="base" hangingPunct="1">
        <a:lnSpc>
          <a:spcPct val="95000"/>
        </a:lnSpc>
        <a:spcBef>
          <a:spcPts val="1200"/>
        </a:spcBef>
        <a:spcAft>
          <a:spcPts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lnSpc>
          <a:spcPct val="95000"/>
        </a:lnSpc>
        <a:spcBef>
          <a:spcPts val="600"/>
        </a:spcBef>
        <a:spcAft>
          <a:spcPts val="0"/>
        </a:spcAft>
        <a:buClr>
          <a:schemeClr val="accent2">
            <a:lumMod val="75000"/>
          </a:schemeClr>
        </a:buClr>
        <a:buFont typeface="Arial" charset="0"/>
        <a:buChar char="–"/>
        <a:tabLst/>
        <a:defRPr sz="2400">
          <a:solidFill>
            <a:schemeClr val="tx1"/>
          </a:solidFill>
          <a:latin typeface="+mn-lt"/>
          <a:cs typeface="+mn-cs"/>
        </a:defRPr>
      </a:lvl2pPr>
      <a:lvl3pPr marL="1085850" indent="-171450" algn="l" rtl="0" eaLnBrk="1" fontAlgn="base" hangingPunct="1">
        <a:lnSpc>
          <a:spcPct val="95000"/>
        </a:lnSpc>
        <a:spcBef>
          <a:spcPts val="300"/>
        </a:spcBef>
        <a:spcAft>
          <a:spcPts val="0"/>
        </a:spcAft>
        <a:buClr>
          <a:schemeClr val="accent2">
            <a:lumMod val="75000"/>
          </a:schemeClr>
        </a:buClr>
        <a:buChar char="•"/>
        <a:tabLst>
          <a:tab pos="114300" algn="l"/>
        </a:tabLst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1" fontAlgn="base" hangingPunct="1">
        <a:lnSpc>
          <a:spcPct val="95000"/>
        </a:lnSpc>
        <a:spcBef>
          <a:spcPts val="300"/>
        </a:spcBef>
        <a:spcAft>
          <a:spcPts val="0"/>
        </a:spcAft>
        <a:buClrTx/>
        <a:buChar char="–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7000" y="-30161"/>
            <a:ext cx="7086600" cy="868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371600"/>
            <a:ext cx="8534400" cy="480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86800" y="6553200"/>
            <a:ext cx="4572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33ABDA34-F357-4A4C-863A-DADF89ACA86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101" name="Line 5"/>
          <p:cNvSpPr>
            <a:spLocks noChangeShapeType="1"/>
          </p:cNvSpPr>
          <p:nvPr userDrawn="1"/>
        </p:nvSpPr>
        <p:spPr bwMode="auto">
          <a:xfrm flipH="1">
            <a:off x="228600" y="863600"/>
            <a:ext cx="8686800" cy="0"/>
          </a:xfrm>
          <a:prstGeom prst="line">
            <a:avLst/>
          </a:prstGeom>
          <a:noFill/>
          <a:ln w="28575">
            <a:solidFill>
              <a:srgbClr val="0099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4102" name="Line 6"/>
          <p:cNvSpPr>
            <a:spLocks noChangeShapeType="1"/>
          </p:cNvSpPr>
          <p:nvPr userDrawn="1"/>
        </p:nvSpPr>
        <p:spPr bwMode="auto">
          <a:xfrm>
            <a:off x="7758113" y="50800"/>
            <a:ext cx="0" cy="762000"/>
          </a:xfrm>
          <a:prstGeom prst="line">
            <a:avLst/>
          </a:prstGeom>
          <a:noFill/>
          <a:ln w="28575">
            <a:solidFill>
              <a:srgbClr val="0099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4103" name="SensitivityLabel" descr="restricted ac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4803" y="6559550"/>
            <a:ext cx="938213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104" name="Rectangle 29"/>
          <p:cNvSpPr>
            <a:spLocks noChangeArrowheads="1"/>
          </p:cNvSpPr>
          <p:nvPr userDrawn="1"/>
        </p:nvSpPr>
        <p:spPr bwMode="auto">
          <a:xfrm>
            <a:off x="7907339" y="736600"/>
            <a:ext cx="1064394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>
                <a:solidFill>
                  <a:srgbClr val="333399"/>
                </a:solidFill>
                <a:latin typeface="Times New Roman" pitchFamily="18" charset="0"/>
              </a:rPr>
              <a:t>Business. Customers. People.</a:t>
            </a:r>
            <a:endParaRPr lang="en-US" altLang="en-US">
              <a:solidFill>
                <a:srgbClr val="000000"/>
              </a:solidFill>
            </a:endParaRPr>
          </a:p>
        </p:txBody>
      </p:sp>
      <p:grpSp>
        <p:nvGrpSpPr>
          <p:cNvPr id="4105" name="Group 30"/>
          <p:cNvGrpSpPr>
            <a:grpSpLocks/>
          </p:cNvGrpSpPr>
          <p:nvPr userDrawn="1"/>
        </p:nvGrpSpPr>
        <p:grpSpPr bwMode="auto">
          <a:xfrm>
            <a:off x="7918453" y="26988"/>
            <a:ext cx="981075" cy="709612"/>
            <a:chOff x="4988" y="17"/>
            <a:chExt cx="618" cy="447"/>
          </a:xfrm>
        </p:grpSpPr>
        <p:sp>
          <p:nvSpPr>
            <p:cNvPr id="4146" name="Freeform 31"/>
            <p:cNvSpPr>
              <a:spLocks/>
            </p:cNvSpPr>
            <p:nvPr userDrawn="1"/>
          </p:nvSpPr>
          <p:spPr bwMode="auto">
            <a:xfrm>
              <a:off x="4999" y="24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47" name="Freeform 32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48" name="Freeform 33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4106" name="Rectangle 34"/>
          <p:cNvSpPr>
            <a:spLocks noChangeArrowheads="1"/>
          </p:cNvSpPr>
          <p:nvPr userDrawn="1"/>
        </p:nvSpPr>
        <p:spPr bwMode="auto">
          <a:xfrm>
            <a:off x="8226425" y="33339"/>
            <a:ext cx="64120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I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07" name="Rectangle 35"/>
          <p:cNvSpPr>
            <a:spLocks noChangeArrowheads="1"/>
          </p:cNvSpPr>
          <p:nvPr userDrawn="1"/>
        </p:nvSpPr>
        <p:spPr bwMode="auto">
          <a:xfrm>
            <a:off x="8274050" y="163519"/>
            <a:ext cx="15709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M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08" name="Rectangle 36"/>
          <p:cNvSpPr>
            <a:spLocks noChangeArrowheads="1"/>
          </p:cNvSpPr>
          <p:nvPr userDrawn="1"/>
        </p:nvSpPr>
        <p:spPr bwMode="auto">
          <a:xfrm>
            <a:off x="8378825" y="274644"/>
            <a:ext cx="13946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&amp;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09" name="Rectangle 37"/>
          <p:cNvSpPr>
            <a:spLocks noChangeArrowheads="1"/>
          </p:cNvSpPr>
          <p:nvPr userDrawn="1"/>
        </p:nvSpPr>
        <p:spPr bwMode="auto">
          <a:xfrm>
            <a:off x="8485188" y="409576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D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0" name="Rectangle 38"/>
          <p:cNvSpPr>
            <a:spLocks noChangeArrowheads="1"/>
          </p:cNvSpPr>
          <p:nvPr userDrawn="1"/>
        </p:nvSpPr>
        <p:spPr bwMode="auto">
          <a:xfrm>
            <a:off x="8596313" y="527056"/>
            <a:ext cx="9297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S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1" name="Rectangle 39"/>
          <p:cNvSpPr>
            <a:spLocks noChangeArrowheads="1"/>
          </p:cNvSpPr>
          <p:nvPr userDrawn="1"/>
        </p:nvSpPr>
        <p:spPr bwMode="auto">
          <a:xfrm>
            <a:off x="7991475" y="566743"/>
            <a:ext cx="13465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900" b="1" i="1">
                <a:solidFill>
                  <a:srgbClr val="FFFFFF"/>
                </a:solidFill>
              </a:rPr>
              <a:t>1T</a:t>
            </a:r>
            <a:endParaRPr lang="en-US" altLang="en-US">
              <a:solidFill>
                <a:srgbClr val="000000"/>
              </a:solidFill>
            </a:endParaRPr>
          </a:p>
        </p:txBody>
      </p:sp>
      <p:grpSp>
        <p:nvGrpSpPr>
          <p:cNvPr id="4112" name="Group 40"/>
          <p:cNvGrpSpPr>
            <a:grpSpLocks/>
          </p:cNvGrpSpPr>
          <p:nvPr userDrawn="1"/>
        </p:nvGrpSpPr>
        <p:grpSpPr bwMode="auto">
          <a:xfrm>
            <a:off x="7948616" y="538163"/>
            <a:ext cx="211137" cy="176212"/>
            <a:chOff x="5007" y="339"/>
            <a:chExt cx="133" cy="111"/>
          </a:xfrm>
        </p:grpSpPr>
        <p:sp>
          <p:nvSpPr>
            <p:cNvPr id="4141" name="Freeform 41"/>
            <p:cNvSpPr>
              <a:spLocks/>
            </p:cNvSpPr>
            <p:nvPr userDrawn="1"/>
          </p:nvSpPr>
          <p:spPr bwMode="auto">
            <a:xfrm>
              <a:off x="5007" y="339"/>
              <a:ext cx="133" cy="111"/>
            </a:xfrm>
            <a:custGeom>
              <a:avLst/>
              <a:gdLst>
                <a:gd name="T0" fmla="*/ 0 w 4800"/>
                <a:gd name="T1" fmla="*/ 0 h 4000"/>
                <a:gd name="T2" fmla="*/ 0 w 4800"/>
                <a:gd name="T3" fmla="*/ 0 h 4000"/>
                <a:gd name="T4" fmla="*/ 0 w 4800"/>
                <a:gd name="T5" fmla="*/ 0 h 4000"/>
                <a:gd name="T6" fmla="*/ 0 w 4800"/>
                <a:gd name="T7" fmla="*/ 0 h 4000"/>
                <a:gd name="T8" fmla="*/ 0 w 4800"/>
                <a:gd name="T9" fmla="*/ 0 h 4000"/>
                <a:gd name="T10" fmla="*/ 0 w 4800"/>
                <a:gd name="T11" fmla="*/ 0 h 4000"/>
                <a:gd name="T12" fmla="*/ 0 w 4800"/>
                <a:gd name="T13" fmla="*/ 0 h 4000"/>
                <a:gd name="T14" fmla="*/ 0 w 4800"/>
                <a:gd name="T15" fmla="*/ 0 h 4000"/>
                <a:gd name="T16" fmla="*/ 0 w 4800"/>
                <a:gd name="T17" fmla="*/ 0 h 4000"/>
                <a:gd name="T18" fmla="*/ 0 w 4800"/>
                <a:gd name="T19" fmla="*/ 0 h 4000"/>
                <a:gd name="T20" fmla="*/ 0 w 4800"/>
                <a:gd name="T21" fmla="*/ 0 h 4000"/>
                <a:gd name="T22" fmla="*/ 0 w 4800"/>
                <a:gd name="T23" fmla="*/ 0 h 4000"/>
                <a:gd name="T24" fmla="*/ 0 w 4800"/>
                <a:gd name="T25" fmla="*/ 0 h 4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800" h="4000">
                  <a:moveTo>
                    <a:pt x="0" y="750"/>
                  </a:moveTo>
                  <a:cubicBezTo>
                    <a:pt x="0" y="612"/>
                    <a:pt x="112" y="500"/>
                    <a:pt x="250" y="500"/>
                  </a:cubicBezTo>
                  <a:lnTo>
                    <a:pt x="4300" y="500"/>
                  </a:lnTo>
                  <a:lnTo>
                    <a:pt x="4300" y="250"/>
                  </a:lnTo>
                  <a:cubicBezTo>
                    <a:pt x="4300" y="112"/>
                    <a:pt x="4412" y="0"/>
                    <a:pt x="4550" y="0"/>
                  </a:cubicBezTo>
                  <a:cubicBezTo>
                    <a:pt x="4688" y="0"/>
                    <a:pt x="4800" y="112"/>
                    <a:pt x="4800" y="250"/>
                  </a:cubicBezTo>
                  <a:lnTo>
                    <a:pt x="4800" y="3250"/>
                  </a:lnTo>
                  <a:cubicBezTo>
                    <a:pt x="4800" y="3388"/>
                    <a:pt x="4688" y="3500"/>
                    <a:pt x="4550" y="3500"/>
                  </a:cubicBezTo>
                  <a:lnTo>
                    <a:pt x="500" y="3500"/>
                  </a:lnTo>
                  <a:lnTo>
                    <a:pt x="500" y="3750"/>
                  </a:lnTo>
                  <a:cubicBezTo>
                    <a:pt x="500" y="3888"/>
                    <a:pt x="388" y="4000"/>
                    <a:pt x="250" y="4000"/>
                  </a:cubicBezTo>
                  <a:cubicBezTo>
                    <a:pt x="112" y="4000"/>
                    <a:pt x="0" y="3888"/>
                    <a:pt x="0" y="3750"/>
                  </a:cubicBezTo>
                  <a:lnTo>
                    <a:pt x="0" y="750"/>
                  </a:lnTo>
                  <a:close/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42" name="Freeform 42"/>
            <p:cNvSpPr>
              <a:spLocks/>
            </p:cNvSpPr>
            <p:nvPr userDrawn="1"/>
          </p:nvSpPr>
          <p:spPr bwMode="auto">
            <a:xfrm>
              <a:off x="5007" y="356"/>
              <a:ext cx="14" cy="11"/>
            </a:xfrm>
            <a:custGeom>
              <a:avLst/>
              <a:gdLst>
                <a:gd name="T0" fmla="*/ 0 w 500"/>
                <a:gd name="T1" fmla="*/ 0 h 375"/>
                <a:gd name="T2" fmla="*/ 0 w 500"/>
                <a:gd name="T3" fmla="*/ 0 h 375"/>
                <a:gd name="T4" fmla="*/ 0 w 500"/>
                <a:gd name="T5" fmla="*/ 0 h 375"/>
                <a:gd name="T6" fmla="*/ 0 w 500"/>
                <a:gd name="T7" fmla="*/ 0 h 375"/>
                <a:gd name="T8" fmla="*/ 0 w 500"/>
                <a:gd name="T9" fmla="*/ 0 h 375"/>
                <a:gd name="T10" fmla="*/ 0 w 500"/>
                <a:gd name="T11" fmla="*/ 0 h 37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0" h="375">
                  <a:moveTo>
                    <a:pt x="0" y="125"/>
                  </a:moveTo>
                  <a:cubicBezTo>
                    <a:pt x="0" y="263"/>
                    <a:pt x="112" y="375"/>
                    <a:pt x="250" y="375"/>
                  </a:cubicBezTo>
                  <a:cubicBezTo>
                    <a:pt x="388" y="375"/>
                    <a:pt x="500" y="263"/>
                    <a:pt x="500" y="125"/>
                  </a:cubicBezTo>
                  <a:cubicBezTo>
                    <a:pt x="500" y="56"/>
                    <a:pt x="444" y="0"/>
                    <a:pt x="375" y="0"/>
                  </a:cubicBezTo>
                  <a:cubicBezTo>
                    <a:pt x="306" y="0"/>
                    <a:pt x="250" y="56"/>
                    <a:pt x="250" y="125"/>
                  </a:cubicBezTo>
                  <a:lnTo>
                    <a:pt x="250" y="375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43" name="Line 43"/>
            <p:cNvSpPr>
              <a:spLocks noChangeShapeType="1"/>
            </p:cNvSpPr>
            <p:nvPr userDrawn="1"/>
          </p:nvSpPr>
          <p:spPr bwMode="auto">
            <a:xfrm>
              <a:off x="5021" y="360"/>
              <a:ext cx="0" cy="76"/>
            </a:xfrm>
            <a:prstGeom prst="line">
              <a:avLst/>
            </a:prstGeom>
            <a:noFill/>
            <a:ln w="4763" cap="rnd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44" name="Freeform 44"/>
            <p:cNvSpPr>
              <a:spLocks/>
            </p:cNvSpPr>
            <p:nvPr userDrawn="1"/>
          </p:nvSpPr>
          <p:spPr bwMode="auto">
            <a:xfrm>
              <a:off x="5126" y="346"/>
              <a:ext cx="14" cy="7"/>
            </a:xfrm>
            <a:custGeom>
              <a:avLst/>
              <a:gdLst>
                <a:gd name="T0" fmla="*/ 0 w 500"/>
                <a:gd name="T1" fmla="*/ 0 h 250"/>
                <a:gd name="T2" fmla="*/ 0 w 500"/>
                <a:gd name="T3" fmla="*/ 0 h 250"/>
                <a:gd name="T4" fmla="*/ 0 w 500"/>
                <a:gd name="T5" fmla="*/ 0 h 25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500" h="250">
                  <a:moveTo>
                    <a:pt x="500" y="0"/>
                  </a:moveTo>
                  <a:cubicBezTo>
                    <a:pt x="500" y="138"/>
                    <a:pt x="388" y="250"/>
                    <a:pt x="250" y="250"/>
                  </a:cubicBezTo>
                  <a:lnTo>
                    <a:pt x="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45" name="Freeform 45"/>
            <p:cNvSpPr>
              <a:spLocks/>
            </p:cNvSpPr>
            <p:nvPr userDrawn="1"/>
          </p:nvSpPr>
          <p:spPr bwMode="auto">
            <a:xfrm>
              <a:off x="5126" y="346"/>
              <a:ext cx="7" cy="7"/>
            </a:xfrm>
            <a:custGeom>
              <a:avLst/>
              <a:gdLst>
                <a:gd name="T0" fmla="*/ 0 w 250"/>
                <a:gd name="T1" fmla="*/ 0 h 250"/>
                <a:gd name="T2" fmla="*/ 0 w 250"/>
                <a:gd name="T3" fmla="*/ 0 h 250"/>
                <a:gd name="T4" fmla="*/ 0 w 250"/>
                <a:gd name="T5" fmla="*/ 0 h 250"/>
                <a:gd name="T6" fmla="*/ 0 w 250"/>
                <a:gd name="T7" fmla="*/ 0 h 25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50" h="250">
                  <a:moveTo>
                    <a:pt x="0" y="0"/>
                  </a:moveTo>
                  <a:cubicBezTo>
                    <a:pt x="0" y="69"/>
                    <a:pt x="56" y="125"/>
                    <a:pt x="125" y="125"/>
                  </a:cubicBezTo>
                  <a:cubicBezTo>
                    <a:pt x="194" y="125"/>
                    <a:pt x="250" y="69"/>
                    <a:pt x="250" y="0"/>
                  </a:cubicBezTo>
                  <a:lnTo>
                    <a:pt x="25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grpSp>
        <p:nvGrpSpPr>
          <p:cNvPr id="4113" name="Group 46"/>
          <p:cNvGrpSpPr>
            <a:grpSpLocks/>
          </p:cNvGrpSpPr>
          <p:nvPr userDrawn="1"/>
        </p:nvGrpSpPr>
        <p:grpSpPr bwMode="auto">
          <a:xfrm>
            <a:off x="7918453" y="26988"/>
            <a:ext cx="981075" cy="709612"/>
            <a:chOff x="4988" y="17"/>
            <a:chExt cx="618" cy="447"/>
          </a:xfrm>
        </p:grpSpPr>
        <p:sp>
          <p:nvSpPr>
            <p:cNvPr id="4138" name="Freeform 47"/>
            <p:cNvSpPr>
              <a:spLocks/>
            </p:cNvSpPr>
            <p:nvPr userDrawn="1"/>
          </p:nvSpPr>
          <p:spPr bwMode="auto">
            <a:xfrm>
              <a:off x="4999" y="24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39" name="Freeform 48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40" name="Freeform 49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4114" name="Rectangle 50"/>
          <p:cNvSpPr>
            <a:spLocks noChangeArrowheads="1"/>
          </p:cNvSpPr>
          <p:nvPr userDrawn="1"/>
        </p:nvSpPr>
        <p:spPr bwMode="auto">
          <a:xfrm>
            <a:off x="8226425" y="33339"/>
            <a:ext cx="64120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I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5" name="Rectangle 51"/>
          <p:cNvSpPr>
            <a:spLocks noChangeArrowheads="1"/>
          </p:cNvSpPr>
          <p:nvPr userDrawn="1"/>
        </p:nvSpPr>
        <p:spPr bwMode="auto">
          <a:xfrm>
            <a:off x="8274050" y="163519"/>
            <a:ext cx="15709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M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6" name="Rectangle 52"/>
          <p:cNvSpPr>
            <a:spLocks noChangeArrowheads="1"/>
          </p:cNvSpPr>
          <p:nvPr userDrawn="1"/>
        </p:nvSpPr>
        <p:spPr bwMode="auto">
          <a:xfrm>
            <a:off x="8378825" y="274644"/>
            <a:ext cx="13946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&amp;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7" name="Rectangle 53"/>
          <p:cNvSpPr>
            <a:spLocks noChangeArrowheads="1"/>
          </p:cNvSpPr>
          <p:nvPr userDrawn="1"/>
        </p:nvSpPr>
        <p:spPr bwMode="auto">
          <a:xfrm>
            <a:off x="8485188" y="409576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D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8" name="Rectangle 54"/>
          <p:cNvSpPr>
            <a:spLocks noChangeArrowheads="1"/>
          </p:cNvSpPr>
          <p:nvPr userDrawn="1"/>
        </p:nvSpPr>
        <p:spPr bwMode="auto">
          <a:xfrm>
            <a:off x="8596313" y="527056"/>
            <a:ext cx="9297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S</a:t>
            </a:r>
            <a:endParaRPr lang="en-US" altLang="en-US">
              <a:solidFill>
                <a:srgbClr val="000000"/>
              </a:solidFill>
            </a:endParaRPr>
          </a:p>
        </p:txBody>
      </p:sp>
      <p:grpSp>
        <p:nvGrpSpPr>
          <p:cNvPr id="4119" name="Group 55"/>
          <p:cNvGrpSpPr>
            <a:grpSpLocks/>
          </p:cNvGrpSpPr>
          <p:nvPr userDrawn="1"/>
        </p:nvGrpSpPr>
        <p:grpSpPr bwMode="auto">
          <a:xfrm>
            <a:off x="7918453" y="26988"/>
            <a:ext cx="981075" cy="709612"/>
            <a:chOff x="4988" y="17"/>
            <a:chExt cx="618" cy="447"/>
          </a:xfrm>
        </p:grpSpPr>
        <p:sp>
          <p:nvSpPr>
            <p:cNvPr id="4135" name="Freeform 56"/>
            <p:cNvSpPr>
              <a:spLocks/>
            </p:cNvSpPr>
            <p:nvPr userDrawn="1"/>
          </p:nvSpPr>
          <p:spPr bwMode="auto">
            <a:xfrm>
              <a:off x="4999" y="24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36" name="Freeform 57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37" name="Freeform 58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4120" name="Rectangle 59"/>
          <p:cNvSpPr>
            <a:spLocks noChangeArrowheads="1"/>
          </p:cNvSpPr>
          <p:nvPr userDrawn="1"/>
        </p:nvSpPr>
        <p:spPr bwMode="auto">
          <a:xfrm>
            <a:off x="8153403" y="33338"/>
            <a:ext cx="17462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I</a:t>
            </a:r>
          </a:p>
        </p:txBody>
      </p:sp>
      <p:sp>
        <p:nvSpPr>
          <p:cNvPr id="4121" name="Rectangle 60"/>
          <p:cNvSpPr>
            <a:spLocks noChangeArrowheads="1"/>
          </p:cNvSpPr>
          <p:nvPr userDrawn="1"/>
        </p:nvSpPr>
        <p:spPr bwMode="auto">
          <a:xfrm>
            <a:off x="8274050" y="163519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A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22" name="Rectangle 61"/>
          <p:cNvSpPr>
            <a:spLocks noChangeArrowheads="1"/>
          </p:cNvSpPr>
          <p:nvPr userDrawn="1"/>
        </p:nvSpPr>
        <p:spPr bwMode="auto">
          <a:xfrm>
            <a:off x="8378825" y="274644"/>
            <a:ext cx="13946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&amp;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23" name="Rectangle 62"/>
          <p:cNvSpPr>
            <a:spLocks noChangeArrowheads="1"/>
          </p:cNvSpPr>
          <p:nvPr userDrawn="1"/>
        </p:nvSpPr>
        <p:spPr bwMode="auto">
          <a:xfrm>
            <a:off x="8485188" y="409576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D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24" name="Rectangle 63"/>
          <p:cNvSpPr>
            <a:spLocks noChangeArrowheads="1"/>
          </p:cNvSpPr>
          <p:nvPr userDrawn="1"/>
        </p:nvSpPr>
        <p:spPr bwMode="auto">
          <a:xfrm>
            <a:off x="8596313" y="527056"/>
            <a:ext cx="9297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S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25" name="Rectangle 64"/>
          <p:cNvSpPr>
            <a:spLocks noChangeArrowheads="1"/>
          </p:cNvSpPr>
          <p:nvPr userDrawn="1"/>
        </p:nvSpPr>
        <p:spPr bwMode="auto">
          <a:xfrm>
            <a:off x="7991478" y="566743"/>
            <a:ext cx="365485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900" b="1" i="1">
                <a:solidFill>
                  <a:srgbClr val="FFFFFF"/>
                </a:solidFill>
              </a:rPr>
              <a:t>1Team</a:t>
            </a:r>
            <a:endParaRPr lang="en-US" altLang="en-US">
              <a:solidFill>
                <a:srgbClr val="000000"/>
              </a:solidFill>
            </a:endParaRPr>
          </a:p>
        </p:txBody>
      </p:sp>
      <p:grpSp>
        <p:nvGrpSpPr>
          <p:cNvPr id="4126" name="Group 65"/>
          <p:cNvGrpSpPr>
            <a:grpSpLocks/>
          </p:cNvGrpSpPr>
          <p:nvPr userDrawn="1"/>
        </p:nvGrpSpPr>
        <p:grpSpPr bwMode="auto">
          <a:xfrm>
            <a:off x="7948613" y="549281"/>
            <a:ext cx="431800" cy="176213"/>
            <a:chOff x="5007" y="339"/>
            <a:chExt cx="133" cy="111"/>
          </a:xfrm>
        </p:grpSpPr>
        <p:sp>
          <p:nvSpPr>
            <p:cNvPr id="4130" name="Freeform 66"/>
            <p:cNvSpPr>
              <a:spLocks/>
            </p:cNvSpPr>
            <p:nvPr userDrawn="1"/>
          </p:nvSpPr>
          <p:spPr bwMode="auto">
            <a:xfrm>
              <a:off x="5007" y="339"/>
              <a:ext cx="133" cy="111"/>
            </a:xfrm>
            <a:custGeom>
              <a:avLst/>
              <a:gdLst>
                <a:gd name="T0" fmla="*/ 0 w 4800"/>
                <a:gd name="T1" fmla="*/ 0 h 4000"/>
                <a:gd name="T2" fmla="*/ 0 w 4800"/>
                <a:gd name="T3" fmla="*/ 0 h 4000"/>
                <a:gd name="T4" fmla="*/ 0 w 4800"/>
                <a:gd name="T5" fmla="*/ 0 h 4000"/>
                <a:gd name="T6" fmla="*/ 0 w 4800"/>
                <a:gd name="T7" fmla="*/ 0 h 4000"/>
                <a:gd name="T8" fmla="*/ 0 w 4800"/>
                <a:gd name="T9" fmla="*/ 0 h 4000"/>
                <a:gd name="T10" fmla="*/ 0 w 4800"/>
                <a:gd name="T11" fmla="*/ 0 h 4000"/>
                <a:gd name="T12" fmla="*/ 0 w 4800"/>
                <a:gd name="T13" fmla="*/ 0 h 4000"/>
                <a:gd name="T14" fmla="*/ 0 w 4800"/>
                <a:gd name="T15" fmla="*/ 0 h 4000"/>
                <a:gd name="T16" fmla="*/ 0 w 4800"/>
                <a:gd name="T17" fmla="*/ 0 h 4000"/>
                <a:gd name="T18" fmla="*/ 0 w 4800"/>
                <a:gd name="T19" fmla="*/ 0 h 4000"/>
                <a:gd name="T20" fmla="*/ 0 w 4800"/>
                <a:gd name="T21" fmla="*/ 0 h 4000"/>
                <a:gd name="T22" fmla="*/ 0 w 4800"/>
                <a:gd name="T23" fmla="*/ 0 h 4000"/>
                <a:gd name="T24" fmla="*/ 0 w 4800"/>
                <a:gd name="T25" fmla="*/ 0 h 4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800" h="4000">
                  <a:moveTo>
                    <a:pt x="0" y="750"/>
                  </a:moveTo>
                  <a:cubicBezTo>
                    <a:pt x="0" y="612"/>
                    <a:pt x="112" y="500"/>
                    <a:pt x="250" y="500"/>
                  </a:cubicBezTo>
                  <a:lnTo>
                    <a:pt x="4300" y="500"/>
                  </a:lnTo>
                  <a:lnTo>
                    <a:pt x="4300" y="250"/>
                  </a:lnTo>
                  <a:cubicBezTo>
                    <a:pt x="4300" y="112"/>
                    <a:pt x="4412" y="0"/>
                    <a:pt x="4550" y="0"/>
                  </a:cubicBezTo>
                  <a:cubicBezTo>
                    <a:pt x="4688" y="0"/>
                    <a:pt x="4800" y="112"/>
                    <a:pt x="4800" y="250"/>
                  </a:cubicBezTo>
                  <a:lnTo>
                    <a:pt x="4800" y="3250"/>
                  </a:lnTo>
                  <a:cubicBezTo>
                    <a:pt x="4800" y="3388"/>
                    <a:pt x="4688" y="3500"/>
                    <a:pt x="4550" y="3500"/>
                  </a:cubicBezTo>
                  <a:lnTo>
                    <a:pt x="500" y="3500"/>
                  </a:lnTo>
                  <a:lnTo>
                    <a:pt x="500" y="3750"/>
                  </a:lnTo>
                  <a:cubicBezTo>
                    <a:pt x="500" y="3888"/>
                    <a:pt x="388" y="4000"/>
                    <a:pt x="250" y="4000"/>
                  </a:cubicBezTo>
                  <a:cubicBezTo>
                    <a:pt x="112" y="4000"/>
                    <a:pt x="0" y="3888"/>
                    <a:pt x="0" y="3750"/>
                  </a:cubicBezTo>
                  <a:lnTo>
                    <a:pt x="0" y="750"/>
                  </a:lnTo>
                  <a:close/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31" name="Freeform 67"/>
            <p:cNvSpPr>
              <a:spLocks/>
            </p:cNvSpPr>
            <p:nvPr userDrawn="1"/>
          </p:nvSpPr>
          <p:spPr bwMode="auto">
            <a:xfrm>
              <a:off x="5007" y="356"/>
              <a:ext cx="14" cy="11"/>
            </a:xfrm>
            <a:custGeom>
              <a:avLst/>
              <a:gdLst>
                <a:gd name="T0" fmla="*/ 0 w 500"/>
                <a:gd name="T1" fmla="*/ 0 h 375"/>
                <a:gd name="T2" fmla="*/ 0 w 500"/>
                <a:gd name="T3" fmla="*/ 0 h 375"/>
                <a:gd name="T4" fmla="*/ 0 w 500"/>
                <a:gd name="T5" fmla="*/ 0 h 375"/>
                <a:gd name="T6" fmla="*/ 0 w 500"/>
                <a:gd name="T7" fmla="*/ 0 h 375"/>
                <a:gd name="T8" fmla="*/ 0 w 500"/>
                <a:gd name="T9" fmla="*/ 0 h 375"/>
                <a:gd name="T10" fmla="*/ 0 w 500"/>
                <a:gd name="T11" fmla="*/ 0 h 37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0" h="375">
                  <a:moveTo>
                    <a:pt x="0" y="125"/>
                  </a:moveTo>
                  <a:cubicBezTo>
                    <a:pt x="0" y="263"/>
                    <a:pt x="112" y="375"/>
                    <a:pt x="250" y="375"/>
                  </a:cubicBezTo>
                  <a:cubicBezTo>
                    <a:pt x="388" y="375"/>
                    <a:pt x="500" y="263"/>
                    <a:pt x="500" y="125"/>
                  </a:cubicBezTo>
                  <a:cubicBezTo>
                    <a:pt x="500" y="56"/>
                    <a:pt x="444" y="0"/>
                    <a:pt x="375" y="0"/>
                  </a:cubicBezTo>
                  <a:cubicBezTo>
                    <a:pt x="306" y="0"/>
                    <a:pt x="250" y="56"/>
                    <a:pt x="250" y="125"/>
                  </a:cubicBezTo>
                  <a:lnTo>
                    <a:pt x="250" y="375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32" name="Line 68"/>
            <p:cNvSpPr>
              <a:spLocks noChangeShapeType="1"/>
            </p:cNvSpPr>
            <p:nvPr userDrawn="1"/>
          </p:nvSpPr>
          <p:spPr bwMode="auto">
            <a:xfrm>
              <a:off x="5021" y="360"/>
              <a:ext cx="0" cy="76"/>
            </a:xfrm>
            <a:prstGeom prst="line">
              <a:avLst/>
            </a:prstGeom>
            <a:noFill/>
            <a:ln w="4763" cap="rnd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33" name="Freeform 69"/>
            <p:cNvSpPr>
              <a:spLocks/>
            </p:cNvSpPr>
            <p:nvPr userDrawn="1"/>
          </p:nvSpPr>
          <p:spPr bwMode="auto">
            <a:xfrm>
              <a:off x="5126" y="346"/>
              <a:ext cx="14" cy="7"/>
            </a:xfrm>
            <a:custGeom>
              <a:avLst/>
              <a:gdLst>
                <a:gd name="T0" fmla="*/ 0 w 500"/>
                <a:gd name="T1" fmla="*/ 0 h 250"/>
                <a:gd name="T2" fmla="*/ 0 w 500"/>
                <a:gd name="T3" fmla="*/ 0 h 250"/>
                <a:gd name="T4" fmla="*/ 0 w 500"/>
                <a:gd name="T5" fmla="*/ 0 h 25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500" h="250">
                  <a:moveTo>
                    <a:pt x="500" y="0"/>
                  </a:moveTo>
                  <a:cubicBezTo>
                    <a:pt x="500" y="138"/>
                    <a:pt x="388" y="250"/>
                    <a:pt x="250" y="250"/>
                  </a:cubicBezTo>
                  <a:lnTo>
                    <a:pt x="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34" name="Freeform 70"/>
            <p:cNvSpPr>
              <a:spLocks/>
            </p:cNvSpPr>
            <p:nvPr userDrawn="1"/>
          </p:nvSpPr>
          <p:spPr bwMode="auto">
            <a:xfrm>
              <a:off x="5126" y="346"/>
              <a:ext cx="7" cy="7"/>
            </a:xfrm>
            <a:custGeom>
              <a:avLst/>
              <a:gdLst>
                <a:gd name="T0" fmla="*/ 0 w 250"/>
                <a:gd name="T1" fmla="*/ 0 h 250"/>
                <a:gd name="T2" fmla="*/ 0 w 250"/>
                <a:gd name="T3" fmla="*/ 0 h 250"/>
                <a:gd name="T4" fmla="*/ 0 w 250"/>
                <a:gd name="T5" fmla="*/ 0 h 250"/>
                <a:gd name="T6" fmla="*/ 0 w 250"/>
                <a:gd name="T7" fmla="*/ 0 h 25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50" h="250">
                  <a:moveTo>
                    <a:pt x="0" y="0"/>
                  </a:moveTo>
                  <a:cubicBezTo>
                    <a:pt x="0" y="69"/>
                    <a:pt x="56" y="125"/>
                    <a:pt x="125" y="125"/>
                  </a:cubicBezTo>
                  <a:cubicBezTo>
                    <a:pt x="194" y="125"/>
                    <a:pt x="250" y="69"/>
                    <a:pt x="250" y="0"/>
                  </a:cubicBezTo>
                  <a:lnTo>
                    <a:pt x="25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pic>
        <p:nvPicPr>
          <p:cNvPr id="4127" name="Picture 8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5" y="6327781"/>
            <a:ext cx="1200150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28" name="Picture 9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5" y="6327781"/>
            <a:ext cx="1200150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29" name="Picture 10"/>
          <p:cNvPicPr>
            <a:picLocks noChangeAspect="1" noChangeArrowheads="1"/>
          </p:cNvPicPr>
          <p:nvPr userDrawn="1">
            <p:custDataLst>
              <p:tags r:id="rId1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5" y="6327781"/>
            <a:ext cx="1200150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54082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18" r:id="rId1"/>
    <p:sldLayoutId id="2147485319" r:id="rId2"/>
    <p:sldLayoutId id="2147485320" r:id="rId3"/>
    <p:sldLayoutId id="2147485321" r:id="rId4"/>
    <p:sldLayoutId id="2147485322" r:id="rId5"/>
    <p:sldLayoutId id="2147485323" r:id="rId6"/>
    <p:sldLayoutId id="2147485324" r:id="rId7"/>
    <p:sldLayoutId id="2147485325" r:id="rId8"/>
    <p:sldLayoutId id="2147485326" r:id="rId9"/>
    <p:sldLayoutId id="2147485327" r:id="rId10"/>
    <p:sldLayoutId id="2147485328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28600" indent="-22860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71500" indent="-22860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2pPr>
      <a:lvl3pPr marL="800100" indent="-11430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Char char="•"/>
        <a:defRPr sz="1400">
          <a:solidFill>
            <a:schemeClr val="tx1"/>
          </a:solidFill>
          <a:latin typeface="+mn-lt"/>
          <a:cs typeface="+mn-cs"/>
        </a:defRPr>
      </a:lvl3pPr>
      <a:lvl4pPr marL="1092200" indent="-17780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Char char="–"/>
        <a:defRPr sz="1200">
          <a:solidFill>
            <a:schemeClr val="tx1"/>
          </a:solidFill>
          <a:latin typeface="+mn-lt"/>
          <a:cs typeface="+mn-cs"/>
        </a:defRPr>
      </a:lvl4pPr>
      <a:lvl5pPr marL="1371600" indent="-16510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5pPr>
      <a:lvl6pPr marL="1828800" indent="-165100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6pPr>
      <a:lvl7pPr marL="2286000" indent="-165100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7pPr>
      <a:lvl8pPr marL="2743200" indent="-165100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8pPr>
      <a:lvl9pPr marL="3200400" indent="-165100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EAA374-18C6-4B0A-82BC-D3AD6B970177}"/>
              </a:ext>
            </a:extLst>
          </p:cNvPr>
          <p:cNvGraphicFramePr>
            <a:graphicFrameLocks noChangeAspect="1"/>
          </p:cNvGraphicFramePr>
          <p:nvPr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495180960"/>
              </p:ext>
            </p:extLst>
          </p:nvPr>
        </p:nvGraphicFramePr>
        <p:xfrm>
          <a:off x="1200" y="1611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3" imgW="473" imgH="473" progId="TCLayout.ActiveDocument.1">
                  <p:embed/>
                </p:oleObj>
              </mc:Choice>
              <mc:Fallback>
                <p:oleObj name="think-cell Slide" r:id="rId4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EAA374-18C6-4B0A-82BC-D3AD6B9701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200" y="1611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4666" y="446259"/>
            <a:ext cx="7849610" cy="1077742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4666" y="1853405"/>
            <a:ext cx="8222618" cy="429022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4659" y="6433581"/>
            <a:ext cx="2895600" cy="27202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kern="600" spc="30">
                <a:solidFill>
                  <a:schemeClr val="tx1"/>
                </a:solidFill>
                <a:latin typeface="Arial Narrow"/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37424A"/>
              </a:solidFill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47118" y="6433603"/>
            <a:ext cx="279405" cy="28924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 kern="600" spc="10">
                <a:solidFill>
                  <a:schemeClr val="tx1"/>
                </a:solidFill>
                <a:latin typeface="Arial Narrow"/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fld id="{74D97F68-CC38-3C48-B083-3B4A1457065E}" type="slidenum">
              <a:rPr lang="en-US" smtClean="0">
                <a:solidFill>
                  <a:srgbClr val="37424A"/>
                </a:solidFill>
                <a:cs typeface="+mn-cs"/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37424A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1798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20" r:id="rId1"/>
    <p:sldLayoutId id="2147485421" r:id="rId2"/>
    <p:sldLayoutId id="2147485422" r:id="rId3"/>
    <p:sldLayoutId id="2147485423" r:id="rId4"/>
    <p:sldLayoutId id="2147485424" r:id="rId5"/>
    <p:sldLayoutId id="2147485425" r:id="rId6"/>
    <p:sldLayoutId id="2147485426" r:id="rId7"/>
    <p:sldLayoutId id="2147485427" r:id="rId8"/>
    <p:sldLayoutId id="2147485428" r:id="rId9"/>
    <p:sldLayoutId id="2147485429" r:id="rId10"/>
    <p:sldLayoutId id="2147485430" r:id="rId11"/>
    <p:sldLayoutId id="2147485431" r:id="rId12"/>
    <p:sldLayoutId id="2147485432" r:id="rId13"/>
    <p:sldLayoutId id="2147485433" r:id="rId14"/>
    <p:sldLayoutId id="2147485434" r:id="rId15"/>
    <p:sldLayoutId id="2147485435" r:id="rId16"/>
    <p:sldLayoutId id="2147485436" r:id="rId17"/>
    <p:sldLayoutId id="2147485437" r:id="rId18"/>
    <p:sldLayoutId id="2147485438" r:id="rId19"/>
    <p:sldLayoutId id="2147485439" r:id="rId20"/>
    <p:sldLayoutId id="2147485440" r:id="rId21"/>
    <p:sldLayoutId id="2147485441" r:id="rId22"/>
    <p:sldLayoutId id="2147485442" r:id="rId23"/>
    <p:sldLayoutId id="2147485443" r:id="rId24"/>
    <p:sldLayoutId id="2147485444" r:id="rId25"/>
    <p:sldLayoutId id="2147485445" r:id="rId26"/>
    <p:sldLayoutId id="2147485446" r:id="rId27"/>
    <p:sldLayoutId id="2147485447" r:id="rId28"/>
    <p:sldLayoutId id="2147485448" r:id="rId29"/>
    <p:sldLayoutId id="2147485449" r:id="rId30"/>
    <p:sldLayoutId id="2147485450" r:id="rId31"/>
    <p:sldLayoutId id="2147485451" r:id="rId32"/>
    <p:sldLayoutId id="2147485452" r:id="rId33"/>
    <p:sldLayoutId id="2147485453" r:id="rId34"/>
    <p:sldLayoutId id="2147485454" r:id="rId35"/>
    <p:sldLayoutId id="2147485455" r:id="rId36"/>
    <p:sldLayoutId id="2147485456" r:id="rId37"/>
    <p:sldLayoutId id="2147485457" r:id="rId38"/>
    <p:sldLayoutId id="2147485458" r:id="rId39"/>
  </p:sldLayoutIdLst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3200" kern="600" spc="50">
          <a:solidFill>
            <a:schemeClr val="tx1"/>
          </a:solidFill>
          <a:latin typeface="Arial Narrow"/>
          <a:ea typeface="+mj-ea"/>
          <a:cs typeface="Arial Narrow"/>
        </a:defRPr>
      </a:lvl1pPr>
    </p:titleStyle>
    <p:bodyStyle>
      <a:lvl1pPr marL="0" indent="0" algn="l" defTabSz="457200" rtl="0" eaLnBrk="1" latinLnBrk="0" hangingPunct="1">
        <a:lnSpc>
          <a:spcPct val="97000"/>
        </a:lnSpc>
        <a:spcBef>
          <a:spcPts val="1000"/>
        </a:spcBef>
        <a:buFont typeface="Arial"/>
        <a:buNone/>
        <a:defRPr sz="2000" kern="600" spc="30">
          <a:solidFill>
            <a:schemeClr val="tx1"/>
          </a:solidFill>
          <a:latin typeface="Arial Narrow"/>
          <a:ea typeface="+mn-ea"/>
          <a:cs typeface="Arial Narrow"/>
        </a:defRPr>
      </a:lvl1pPr>
      <a:lvl2pPr marL="193675" indent="-165100" algn="l" defTabSz="457200" rtl="0" eaLnBrk="1" latinLnBrk="0" hangingPunct="1">
        <a:lnSpc>
          <a:spcPct val="97000"/>
        </a:lnSpc>
        <a:spcBef>
          <a:spcPts val="300"/>
        </a:spcBef>
        <a:buSzPct val="95000"/>
        <a:buFont typeface="Arial"/>
        <a:buChar char="•"/>
        <a:defRPr sz="2000" kern="600" spc="30">
          <a:solidFill>
            <a:schemeClr val="tx1"/>
          </a:solidFill>
          <a:latin typeface="Arial Narrow"/>
          <a:ea typeface="+mn-ea"/>
          <a:cs typeface="Arial Narrow"/>
        </a:defRPr>
      </a:lvl2pPr>
      <a:lvl3pPr marL="401638" indent="-174625" algn="l" defTabSz="457200" rtl="0" eaLnBrk="1" latinLnBrk="0" hangingPunct="1">
        <a:lnSpc>
          <a:spcPct val="97000"/>
        </a:lnSpc>
        <a:spcBef>
          <a:spcPts val="0"/>
        </a:spcBef>
        <a:buFont typeface="Lucida Grande"/>
        <a:buChar char="–"/>
        <a:defRPr sz="1900" kern="600" spc="30">
          <a:solidFill>
            <a:schemeClr val="tx1"/>
          </a:solidFill>
          <a:latin typeface="Arial Narrow"/>
          <a:ea typeface="+mn-ea"/>
          <a:cs typeface="Arial Narrow"/>
        </a:defRPr>
      </a:lvl3pPr>
      <a:lvl4pPr marL="584200" indent="-168275" algn="l" defTabSz="457200" rtl="0" eaLnBrk="1" latinLnBrk="0" hangingPunct="1">
        <a:lnSpc>
          <a:spcPct val="97000"/>
        </a:lnSpc>
        <a:spcBef>
          <a:spcPts val="0"/>
        </a:spcBef>
        <a:buSzPct val="95000"/>
        <a:buFont typeface="Arial"/>
        <a:buChar char="•"/>
        <a:defRPr sz="1800" kern="600" spc="30">
          <a:solidFill>
            <a:schemeClr val="tx1"/>
          </a:solidFill>
          <a:latin typeface="Arial Narrow"/>
          <a:ea typeface="+mn-ea"/>
          <a:cs typeface="Arial Narrow"/>
        </a:defRPr>
      </a:lvl4pPr>
      <a:lvl5pPr marL="773113" indent="-182563" algn="l" defTabSz="457200" rtl="0" eaLnBrk="1" latinLnBrk="0" hangingPunct="1">
        <a:lnSpc>
          <a:spcPct val="97000"/>
        </a:lnSpc>
        <a:spcBef>
          <a:spcPts val="0"/>
        </a:spcBef>
        <a:buFont typeface="Lucida Grande"/>
        <a:buChar char="–"/>
        <a:defRPr sz="1700" kern="600" spc="30">
          <a:solidFill>
            <a:schemeClr val="tx1"/>
          </a:solidFill>
          <a:latin typeface="Arial Narrow"/>
          <a:ea typeface="+mn-ea"/>
          <a:cs typeface="Arial Narrow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610600" cy="1100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0"/>
            <a:ext cx="7620000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371600"/>
            <a:ext cx="8382000" cy="4754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52400" y="6473825"/>
            <a:ext cx="685800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buFontTx/>
              <a:buNone/>
              <a:defRPr sz="100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008BD1BD-F4A2-493B-8BA3-1D79115EC300}" type="slidenum">
              <a:rPr lang="en-US">
                <a:solidFill>
                  <a:srgbClr val="808080"/>
                </a:solidFill>
                <a:latin typeface="Arial"/>
                <a:cs typeface="Arial"/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  <a:latin typeface="Arial"/>
              <a:cs typeface="Arial"/>
            </a:endParaRPr>
          </a:p>
        </p:txBody>
      </p:sp>
      <p:pic>
        <p:nvPicPr>
          <p:cNvPr id="2" name="Picture 6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450" y="6215063"/>
            <a:ext cx="1435100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090152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84" r:id="rId1"/>
    <p:sldLayoutId id="2147485485" r:id="rId2"/>
    <p:sldLayoutId id="2147485486" r:id="rId3"/>
    <p:sldLayoutId id="2147485487" r:id="rId4"/>
    <p:sldLayoutId id="2147485488" r:id="rId5"/>
    <p:sldLayoutId id="2147485489" r:id="rId6"/>
    <p:sldLayoutId id="2147485490" r:id="rId7"/>
    <p:sldLayoutId id="2147485491" r:id="rId8"/>
    <p:sldLayoutId id="2147485492" r:id="rId9"/>
    <p:sldLayoutId id="2147485493" r:id="rId10"/>
    <p:sldLayoutId id="2147485494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9pPr>
    </p:titleStyle>
    <p:bodyStyle>
      <a:lvl1pPr marL="228600" indent="-228600" algn="l" rtl="0" eaLnBrk="0" fontAlgn="base" hangingPunct="0">
        <a:lnSpc>
          <a:spcPct val="95000"/>
        </a:lnSpc>
        <a:spcBef>
          <a:spcPct val="40000"/>
        </a:spcBef>
        <a:spcAft>
          <a:spcPct val="10000"/>
        </a:spcAft>
        <a:buClr>
          <a:schemeClr val="accent1"/>
        </a:buClr>
        <a:buChar char="•"/>
        <a:tabLst>
          <a:tab pos="114300" algn="l"/>
        </a:tabLst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571500" indent="-228600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lr>
          <a:srgbClr val="B3A79F"/>
        </a:buClr>
        <a:buFont typeface="Arial" charset="0"/>
        <a:buChar char="–"/>
        <a:tabLst>
          <a:tab pos="114300" algn="l"/>
        </a:tabLst>
        <a:defRPr sz="2400">
          <a:solidFill>
            <a:schemeClr val="tx1"/>
          </a:solidFill>
          <a:latin typeface="+mn-lt"/>
          <a:cs typeface="+mn-cs"/>
        </a:defRPr>
      </a:lvl2pPr>
      <a:lvl3pPr marL="857250" indent="-171450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lr>
          <a:srgbClr val="8CC7BA"/>
        </a:buClr>
        <a:buChar char="•"/>
        <a:tabLst>
          <a:tab pos="114300" algn="l"/>
        </a:tabLst>
        <a:defRPr sz="2400">
          <a:solidFill>
            <a:schemeClr val="tx1"/>
          </a:solidFill>
          <a:latin typeface="+mn-lt"/>
          <a:cs typeface="+mn-cs"/>
        </a:defRPr>
      </a:lvl3pPr>
      <a:lvl4pPr marL="1200150" indent="-228600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har char="–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ZS Draft Indicator"/>
          <p:cNvSpPr txBox="1">
            <a:spLocks noChangeArrowheads="1"/>
          </p:cNvSpPr>
          <p:nvPr userDrawn="1"/>
        </p:nvSpPr>
        <p:spPr bwMode="blackWhite">
          <a:xfrm>
            <a:off x="3319463" y="46038"/>
            <a:ext cx="25146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9" tIns="45719" rIns="91439" bIns="45719" anchor="b"/>
          <a:lstStyle>
            <a:lvl1pPr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en-US" sz="1200" b="1" i="1" u="none">
                <a:solidFill>
                  <a:srgbClr val="A41128"/>
                </a:solidFill>
              </a:rPr>
              <a:t>Draft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15425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22238"/>
            <a:ext cx="82296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9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062038"/>
            <a:ext cx="8229600" cy="522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</a:t>
            </a:r>
          </a:p>
          <a:p>
            <a:pPr lvl="1"/>
            <a:r>
              <a:rPr lang="en-US" altLang="en-US"/>
              <a:t>Second levelFifth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endParaRPr lang="en-US" altLang="en-US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4"/>
          </p:nvPr>
        </p:nvSpPr>
        <p:spPr bwMode="auto">
          <a:xfrm>
            <a:off x="8402638" y="6529388"/>
            <a:ext cx="741362" cy="328612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b="1" u="none">
                <a:latin typeface="+mn-lt"/>
                <a:cs typeface="+mn-cs"/>
              </a:defRPr>
            </a:lvl1pPr>
          </a:lstStyle>
          <a:p>
            <a:pPr>
              <a:defRPr/>
            </a:pPr>
            <a:fld id="{B94BA365-5990-4524-8DD9-C802ACD4253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9784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17" r:id="rId1"/>
    <p:sldLayoutId id="2147485618" r:id="rId2"/>
    <p:sldLayoutId id="2147485619" r:id="rId3"/>
    <p:sldLayoutId id="2147485620" r:id="rId4"/>
    <p:sldLayoutId id="2147485621" r:id="rId5"/>
    <p:sldLayoutId id="2147485622" r:id="rId6"/>
    <p:sldLayoutId id="2147485623" r:id="rId7"/>
    <p:sldLayoutId id="2147485624" r:id="rId8"/>
    <p:sldLayoutId id="2147485625" r:id="rId9"/>
    <p:sldLayoutId id="2147485626" r:id="rId10"/>
    <p:sldLayoutId id="2147485627" r:id="rId11"/>
  </p:sldLayoutIdLst>
  <p:transition>
    <p:fade/>
  </p:transition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400">
          <a:solidFill>
            <a:srgbClr val="292929"/>
          </a:solidFill>
          <a:latin typeface="+mn-lt"/>
          <a:ea typeface="+mn-ea"/>
          <a:cs typeface="+mn-cs"/>
        </a:defRPr>
      </a:lvl1pPr>
      <a:lvl2pPr marL="3429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–"/>
        <a:defRPr sz="2000">
          <a:solidFill>
            <a:srgbClr val="333333"/>
          </a:solidFill>
          <a:latin typeface="+mn-lt"/>
          <a:cs typeface="+mn-cs"/>
        </a:defRPr>
      </a:lvl2pPr>
      <a:lvl3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2400">
          <a:solidFill>
            <a:srgbClr val="4D4D4D"/>
          </a:solidFill>
          <a:latin typeface="+mn-lt"/>
          <a:cs typeface="+mn-cs"/>
        </a:defRPr>
      </a:lvl3pPr>
      <a:lvl4pPr marL="1028700" indent="-1714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o"/>
        <a:defRPr sz="1600">
          <a:solidFill>
            <a:srgbClr val="5F5F5F"/>
          </a:solidFill>
          <a:latin typeface="+mn-lt"/>
          <a:cs typeface="+mn-cs"/>
        </a:defRPr>
      </a:lvl4pPr>
      <a:lvl5pPr marL="1371600" indent="-228600" algn="l" rtl="0" eaLnBrk="0" fontAlgn="base" hangingPunct="0">
        <a:spcBef>
          <a:spcPct val="20000"/>
        </a:spcBef>
        <a:spcAft>
          <a:spcPct val="0"/>
        </a:spcAft>
        <a:buClr>
          <a:srgbClr val="777777"/>
        </a:buClr>
        <a:buFont typeface="Arial" charset="0"/>
        <a:buChar char="»"/>
        <a:defRPr sz="1400">
          <a:solidFill>
            <a:srgbClr val="777777"/>
          </a:solidFill>
          <a:latin typeface="+mn-lt"/>
          <a:cs typeface="+mn-cs"/>
        </a:defRPr>
      </a:lvl5pPr>
      <a:lvl6pPr marL="1828800" indent="-22860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6pPr>
      <a:lvl7pPr marL="2286000" indent="-22860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7pPr>
      <a:lvl8pPr marL="2743200" indent="-22860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8pPr>
      <a:lvl9pPr marL="3200400" indent="-22860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ZS Draft Indicator"/>
          <p:cNvSpPr txBox="1">
            <a:spLocks noChangeArrowheads="1"/>
          </p:cNvSpPr>
          <p:nvPr userDrawn="1"/>
        </p:nvSpPr>
        <p:spPr bwMode="blackWhite">
          <a:xfrm>
            <a:off x="3319463" y="46048"/>
            <a:ext cx="25146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38" rIns="91270" bIns="45638" anchor="b"/>
          <a:lstStyle>
            <a:lvl1pPr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en-US" sz="1200" b="1" i="1" u="none">
                <a:solidFill>
                  <a:srgbClr val="A41128"/>
                </a:solidFill>
              </a:rPr>
              <a:t>Draft</a:t>
            </a: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" y="0"/>
            <a:ext cx="9115425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22245"/>
            <a:ext cx="82296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7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062039"/>
            <a:ext cx="8229600" cy="522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</a:t>
            </a:r>
          </a:p>
          <a:p>
            <a:pPr lvl="1"/>
            <a:r>
              <a:rPr lang="en-US" altLang="en-US"/>
              <a:t>Second levelFifth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endParaRPr lang="en-US" altLang="en-US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4"/>
          </p:nvPr>
        </p:nvSpPr>
        <p:spPr bwMode="auto">
          <a:xfrm>
            <a:off x="8402638" y="6529388"/>
            <a:ext cx="741362" cy="328612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270" tIns="45642" rIns="91270" bIns="45642" numCol="1" anchor="ctr" anchorCtr="1" compatLnSpc="1">
            <a:prstTxWarp prst="textNoShape">
              <a:avLst/>
            </a:prstTxWarp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b="1" u="none"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5440E9D-2D7A-4660-94BB-026791CD87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025" r:id="rId1"/>
    <p:sldLayoutId id="2147485026" r:id="rId2"/>
    <p:sldLayoutId id="2147485027" r:id="rId3"/>
    <p:sldLayoutId id="2147485028" r:id="rId4"/>
    <p:sldLayoutId id="2147485029" r:id="rId5"/>
    <p:sldLayoutId id="2147485030" r:id="rId6"/>
    <p:sldLayoutId id="2147485031" r:id="rId7"/>
    <p:sldLayoutId id="2147485032" r:id="rId8"/>
    <p:sldLayoutId id="2147485033" r:id="rId9"/>
    <p:sldLayoutId id="2147485034" r:id="rId10"/>
    <p:sldLayoutId id="2147485035" r:id="rId11"/>
  </p:sldLayoutIdLst>
  <p:transition>
    <p:fade/>
  </p:transition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5635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1271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369077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825426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342270" indent="-34227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400">
          <a:solidFill>
            <a:srgbClr val="292929"/>
          </a:solidFill>
          <a:latin typeface="+mn-lt"/>
          <a:ea typeface="+mn-ea"/>
          <a:cs typeface="+mn-cs"/>
        </a:defRPr>
      </a:lvl1pPr>
      <a:lvl2pPr marL="342270" indent="-22818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itchFamily="34" charset="0"/>
        <a:buChar char="–"/>
        <a:defRPr sz="2000">
          <a:solidFill>
            <a:srgbClr val="333333"/>
          </a:solidFill>
          <a:latin typeface="+mn-lt"/>
          <a:cs typeface="+mn-cs"/>
        </a:defRPr>
      </a:lvl2pPr>
      <a:lvl3pPr marL="741579" indent="-28522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2400">
          <a:solidFill>
            <a:srgbClr val="4D4D4D"/>
          </a:solidFill>
          <a:latin typeface="+mn-lt"/>
          <a:cs typeface="+mn-cs"/>
        </a:defRPr>
      </a:lvl3pPr>
      <a:lvl4pPr marL="1026810" indent="-17113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o"/>
        <a:defRPr sz="1600">
          <a:solidFill>
            <a:srgbClr val="5F5F5F"/>
          </a:solidFill>
          <a:latin typeface="+mn-lt"/>
          <a:cs typeface="+mn-cs"/>
        </a:defRPr>
      </a:lvl4pPr>
      <a:lvl5pPr marL="1369077" indent="-228180" algn="l" rtl="0" eaLnBrk="0" fontAlgn="base" hangingPunct="0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5pPr>
      <a:lvl6pPr marL="182542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6pPr>
      <a:lvl7pPr marL="2281780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7pPr>
      <a:lvl8pPr marL="273813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8pPr>
      <a:lvl9pPr marL="3194492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5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71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077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42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78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13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492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84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7000" y="-30161"/>
            <a:ext cx="7086600" cy="868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70" tIns="45642" rIns="91270" bIns="4564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371600"/>
            <a:ext cx="8534400" cy="480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70" tIns="45642" rIns="91270" bIns="4564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86800" y="6553200"/>
            <a:ext cx="4572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70" tIns="45642" rIns="91270" bIns="45642" numCol="1" anchor="b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A0D2998-EBA7-456D-A357-04397EDADBE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101" name="Line 5"/>
          <p:cNvSpPr>
            <a:spLocks noChangeShapeType="1"/>
          </p:cNvSpPr>
          <p:nvPr userDrawn="1"/>
        </p:nvSpPr>
        <p:spPr bwMode="auto">
          <a:xfrm flipH="1">
            <a:off x="228600" y="863600"/>
            <a:ext cx="8686800" cy="0"/>
          </a:xfrm>
          <a:prstGeom prst="line">
            <a:avLst/>
          </a:prstGeom>
          <a:noFill/>
          <a:ln w="28575">
            <a:solidFill>
              <a:srgbClr val="0099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270" tIns="45642" rIns="91270" bIns="45642"/>
          <a:lstStyle/>
          <a:p>
            <a:endParaRPr lang="en-US"/>
          </a:p>
        </p:txBody>
      </p:sp>
      <p:sp>
        <p:nvSpPr>
          <p:cNvPr id="4102" name="Line 6"/>
          <p:cNvSpPr>
            <a:spLocks noChangeShapeType="1"/>
          </p:cNvSpPr>
          <p:nvPr userDrawn="1"/>
        </p:nvSpPr>
        <p:spPr bwMode="auto">
          <a:xfrm>
            <a:off x="7758113" y="50800"/>
            <a:ext cx="0" cy="762000"/>
          </a:xfrm>
          <a:prstGeom prst="line">
            <a:avLst/>
          </a:prstGeom>
          <a:noFill/>
          <a:ln w="28575">
            <a:solidFill>
              <a:srgbClr val="0099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270" tIns="45642" rIns="91270" bIns="45642"/>
          <a:lstStyle/>
          <a:p>
            <a:endParaRPr lang="en-US"/>
          </a:p>
        </p:txBody>
      </p:sp>
      <p:pic>
        <p:nvPicPr>
          <p:cNvPr id="4103" name="SensitivityLabel" descr="restricted ac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4824" y="6559550"/>
            <a:ext cx="938213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104" name="Rectangle 29"/>
          <p:cNvSpPr>
            <a:spLocks noChangeArrowheads="1"/>
          </p:cNvSpPr>
          <p:nvPr userDrawn="1"/>
        </p:nvSpPr>
        <p:spPr bwMode="auto">
          <a:xfrm>
            <a:off x="7907338" y="736600"/>
            <a:ext cx="1064394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>
                <a:solidFill>
                  <a:srgbClr val="333399"/>
                </a:solidFill>
                <a:latin typeface="Times New Roman" pitchFamily="18" charset="0"/>
              </a:rPr>
              <a:t>Business. Customers. People.</a:t>
            </a:r>
            <a:endParaRPr lang="en-US" altLang="en-US">
              <a:solidFill>
                <a:srgbClr val="000000"/>
              </a:solidFill>
            </a:endParaRPr>
          </a:p>
        </p:txBody>
      </p:sp>
      <p:grpSp>
        <p:nvGrpSpPr>
          <p:cNvPr id="4105" name="Group 30"/>
          <p:cNvGrpSpPr>
            <a:grpSpLocks/>
          </p:cNvGrpSpPr>
          <p:nvPr userDrawn="1"/>
        </p:nvGrpSpPr>
        <p:grpSpPr bwMode="auto">
          <a:xfrm>
            <a:off x="7918456" y="26988"/>
            <a:ext cx="981075" cy="709612"/>
            <a:chOff x="4988" y="17"/>
            <a:chExt cx="618" cy="447"/>
          </a:xfrm>
        </p:grpSpPr>
        <p:sp>
          <p:nvSpPr>
            <p:cNvPr id="4146" name="Freeform 31"/>
            <p:cNvSpPr>
              <a:spLocks/>
            </p:cNvSpPr>
            <p:nvPr userDrawn="1"/>
          </p:nvSpPr>
          <p:spPr bwMode="auto">
            <a:xfrm>
              <a:off x="4999" y="24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47" name="Freeform 32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48" name="Freeform 33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106" name="Rectangle 34"/>
          <p:cNvSpPr>
            <a:spLocks noChangeArrowheads="1"/>
          </p:cNvSpPr>
          <p:nvPr userDrawn="1"/>
        </p:nvSpPr>
        <p:spPr bwMode="auto">
          <a:xfrm>
            <a:off x="8226425" y="33363"/>
            <a:ext cx="64120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I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07" name="Rectangle 35"/>
          <p:cNvSpPr>
            <a:spLocks noChangeArrowheads="1"/>
          </p:cNvSpPr>
          <p:nvPr userDrawn="1"/>
        </p:nvSpPr>
        <p:spPr bwMode="auto">
          <a:xfrm>
            <a:off x="8274050" y="163543"/>
            <a:ext cx="15709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M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08" name="Rectangle 36"/>
          <p:cNvSpPr>
            <a:spLocks noChangeArrowheads="1"/>
          </p:cNvSpPr>
          <p:nvPr userDrawn="1"/>
        </p:nvSpPr>
        <p:spPr bwMode="auto">
          <a:xfrm>
            <a:off x="8378825" y="274668"/>
            <a:ext cx="13946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&amp;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09" name="Rectangle 37"/>
          <p:cNvSpPr>
            <a:spLocks noChangeArrowheads="1"/>
          </p:cNvSpPr>
          <p:nvPr userDrawn="1"/>
        </p:nvSpPr>
        <p:spPr bwMode="auto">
          <a:xfrm>
            <a:off x="8485188" y="409598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D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0" name="Rectangle 38"/>
          <p:cNvSpPr>
            <a:spLocks noChangeArrowheads="1"/>
          </p:cNvSpPr>
          <p:nvPr userDrawn="1"/>
        </p:nvSpPr>
        <p:spPr bwMode="auto">
          <a:xfrm>
            <a:off x="8596313" y="527080"/>
            <a:ext cx="9297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S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1" name="Rectangle 39"/>
          <p:cNvSpPr>
            <a:spLocks noChangeArrowheads="1"/>
          </p:cNvSpPr>
          <p:nvPr userDrawn="1"/>
        </p:nvSpPr>
        <p:spPr bwMode="auto">
          <a:xfrm>
            <a:off x="7991474" y="566767"/>
            <a:ext cx="13465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900" b="1" i="1">
                <a:solidFill>
                  <a:srgbClr val="FFFFFF"/>
                </a:solidFill>
              </a:rPr>
              <a:t>1T</a:t>
            </a:r>
            <a:endParaRPr lang="en-US" altLang="en-US">
              <a:solidFill>
                <a:srgbClr val="000000"/>
              </a:solidFill>
            </a:endParaRPr>
          </a:p>
        </p:txBody>
      </p:sp>
      <p:grpSp>
        <p:nvGrpSpPr>
          <p:cNvPr id="4112" name="Group 40"/>
          <p:cNvGrpSpPr>
            <a:grpSpLocks/>
          </p:cNvGrpSpPr>
          <p:nvPr userDrawn="1"/>
        </p:nvGrpSpPr>
        <p:grpSpPr bwMode="auto">
          <a:xfrm>
            <a:off x="7948618" y="538163"/>
            <a:ext cx="211137" cy="176212"/>
            <a:chOff x="5007" y="339"/>
            <a:chExt cx="133" cy="111"/>
          </a:xfrm>
        </p:grpSpPr>
        <p:sp>
          <p:nvSpPr>
            <p:cNvPr id="4141" name="Freeform 41"/>
            <p:cNvSpPr>
              <a:spLocks/>
            </p:cNvSpPr>
            <p:nvPr userDrawn="1"/>
          </p:nvSpPr>
          <p:spPr bwMode="auto">
            <a:xfrm>
              <a:off x="5007" y="339"/>
              <a:ext cx="133" cy="111"/>
            </a:xfrm>
            <a:custGeom>
              <a:avLst/>
              <a:gdLst>
                <a:gd name="T0" fmla="*/ 0 w 4800"/>
                <a:gd name="T1" fmla="*/ 0 h 4000"/>
                <a:gd name="T2" fmla="*/ 0 w 4800"/>
                <a:gd name="T3" fmla="*/ 0 h 4000"/>
                <a:gd name="T4" fmla="*/ 0 w 4800"/>
                <a:gd name="T5" fmla="*/ 0 h 4000"/>
                <a:gd name="T6" fmla="*/ 0 w 4800"/>
                <a:gd name="T7" fmla="*/ 0 h 4000"/>
                <a:gd name="T8" fmla="*/ 0 w 4800"/>
                <a:gd name="T9" fmla="*/ 0 h 4000"/>
                <a:gd name="T10" fmla="*/ 0 w 4800"/>
                <a:gd name="T11" fmla="*/ 0 h 4000"/>
                <a:gd name="T12" fmla="*/ 0 w 4800"/>
                <a:gd name="T13" fmla="*/ 0 h 4000"/>
                <a:gd name="T14" fmla="*/ 0 w 4800"/>
                <a:gd name="T15" fmla="*/ 0 h 4000"/>
                <a:gd name="T16" fmla="*/ 0 w 4800"/>
                <a:gd name="T17" fmla="*/ 0 h 4000"/>
                <a:gd name="T18" fmla="*/ 0 w 4800"/>
                <a:gd name="T19" fmla="*/ 0 h 4000"/>
                <a:gd name="T20" fmla="*/ 0 w 4800"/>
                <a:gd name="T21" fmla="*/ 0 h 4000"/>
                <a:gd name="T22" fmla="*/ 0 w 4800"/>
                <a:gd name="T23" fmla="*/ 0 h 4000"/>
                <a:gd name="T24" fmla="*/ 0 w 4800"/>
                <a:gd name="T25" fmla="*/ 0 h 4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800" h="4000">
                  <a:moveTo>
                    <a:pt x="0" y="750"/>
                  </a:moveTo>
                  <a:cubicBezTo>
                    <a:pt x="0" y="612"/>
                    <a:pt x="112" y="500"/>
                    <a:pt x="250" y="500"/>
                  </a:cubicBezTo>
                  <a:lnTo>
                    <a:pt x="4300" y="500"/>
                  </a:lnTo>
                  <a:lnTo>
                    <a:pt x="4300" y="250"/>
                  </a:lnTo>
                  <a:cubicBezTo>
                    <a:pt x="4300" y="112"/>
                    <a:pt x="4412" y="0"/>
                    <a:pt x="4550" y="0"/>
                  </a:cubicBezTo>
                  <a:cubicBezTo>
                    <a:pt x="4688" y="0"/>
                    <a:pt x="4800" y="112"/>
                    <a:pt x="4800" y="250"/>
                  </a:cubicBezTo>
                  <a:lnTo>
                    <a:pt x="4800" y="3250"/>
                  </a:lnTo>
                  <a:cubicBezTo>
                    <a:pt x="4800" y="3388"/>
                    <a:pt x="4688" y="3500"/>
                    <a:pt x="4550" y="3500"/>
                  </a:cubicBezTo>
                  <a:lnTo>
                    <a:pt x="500" y="3500"/>
                  </a:lnTo>
                  <a:lnTo>
                    <a:pt x="500" y="3750"/>
                  </a:lnTo>
                  <a:cubicBezTo>
                    <a:pt x="500" y="3888"/>
                    <a:pt x="388" y="4000"/>
                    <a:pt x="250" y="4000"/>
                  </a:cubicBezTo>
                  <a:cubicBezTo>
                    <a:pt x="112" y="4000"/>
                    <a:pt x="0" y="3888"/>
                    <a:pt x="0" y="3750"/>
                  </a:cubicBezTo>
                  <a:lnTo>
                    <a:pt x="0" y="750"/>
                  </a:lnTo>
                  <a:close/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42" name="Freeform 42"/>
            <p:cNvSpPr>
              <a:spLocks/>
            </p:cNvSpPr>
            <p:nvPr userDrawn="1"/>
          </p:nvSpPr>
          <p:spPr bwMode="auto">
            <a:xfrm>
              <a:off x="5007" y="356"/>
              <a:ext cx="14" cy="11"/>
            </a:xfrm>
            <a:custGeom>
              <a:avLst/>
              <a:gdLst>
                <a:gd name="T0" fmla="*/ 0 w 500"/>
                <a:gd name="T1" fmla="*/ 0 h 375"/>
                <a:gd name="T2" fmla="*/ 0 w 500"/>
                <a:gd name="T3" fmla="*/ 0 h 375"/>
                <a:gd name="T4" fmla="*/ 0 w 500"/>
                <a:gd name="T5" fmla="*/ 0 h 375"/>
                <a:gd name="T6" fmla="*/ 0 w 500"/>
                <a:gd name="T7" fmla="*/ 0 h 375"/>
                <a:gd name="T8" fmla="*/ 0 w 500"/>
                <a:gd name="T9" fmla="*/ 0 h 375"/>
                <a:gd name="T10" fmla="*/ 0 w 500"/>
                <a:gd name="T11" fmla="*/ 0 h 37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0" h="375">
                  <a:moveTo>
                    <a:pt x="0" y="125"/>
                  </a:moveTo>
                  <a:cubicBezTo>
                    <a:pt x="0" y="263"/>
                    <a:pt x="112" y="375"/>
                    <a:pt x="250" y="375"/>
                  </a:cubicBezTo>
                  <a:cubicBezTo>
                    <a:pt x="388" y="375"/>
                    <a:pt x="500" y="263"/>
                    <a:pt x="500" y="125"/>
                  </a:cubicBezTo>
                  <a:cubicBezTo>
                    <a:pt x="500" y="56"/>
                    <a:pt x="444" y="0"/>
                    <a:pt x="375" y="0"/>
                  </a:cubicBezTo>
                  <a:cubicBezTo>
                    <a:pt x="306" y="0"/>
                    <a:pt x="250" y="56"/>
                    <a:pt x="250" y="125"/>
                  </a:cubicBezTo>
                  <a:lnTo>
                    <a:pt x="250" y="375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43" name="Line 43"/>
            <p:cNvSpPr>
              <a:spLocks noChangeShapeType="1"/>
            </p:cNvSpPr>
            <p:nvPr userDrawn="1"/>
          </p:nvSpPr>
          <p:spPr bwMode="auto">
            <a:xfrm>
              <a:off x="5021" y="360"/>
              <a:ext cx="0" cy="76"/>
            </a:xfrm>
            <a:prstGeom prst="line">
              <a:avLst/>
            </a:prstGeom>
            <a:noFill/>
            <a:ln w="4763" cap="rnd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44" name="Freeform 44"/>
            <p:cNvSpPr>
              <a:spLocks/>
            </p:cNvSpPr>
            <p:nvPr userDrawn="1"/>
          </p:nvSpPr>
          <p:spPr bwMode="auto">
            <a:xfrm>
              <a:off x="5126" y="346"/>
              <a:ext cx="14" cy="7"/>
            </a:xfrm>
            <a:custGeom>
              <a:avLst/>
              <a:gdLst>
                <a:gd name="T0" fmla="*/ 0 w 500"/>
                <a:gd name="T1" fmla="*/ 0 h 250"/>
                <a:gd name="T2" fmla="*/ 0 w 500"/>
                <a:gd name="T3" fmla="*/ 0 h 250"/>
                <a:gd name="T4" fmla="*/ 0 w 500"/>
                <a:gd name="T5" fmla="*/ 0 h 25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500" h="250">
                  <a:moveTo>
                    <a:pt x="500" y="0"/>
                  </a:moveTo>
                  <a:cubicBezTo>
                    <a:pt x="500" y="138"/>
                    <a:pt x="388" y="250"/>
                    <a:pt x="250" y="250"/>
                  </a:cubicBezTo>
                  <a:lnTo>
                    <a:pt x="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45" name="Freeform 45"/>
            <p:cNvSpPr>
              <a:spLocks/>
            </p:cNvSpPr>
            <p:nvPr userDrawn="1"/>
          </p:nvSpPr>
          <p:spPr bwMode="auto">
            <a:xfrm>
              <a:off x="5126" y="346"/>
              <a:ext cx="7" cy="7"/>
            </a:xfrm>
            <a:custGeom>
              <a:avLst/>
              <a:gdLst>
                <a:gd name="T0" fmla="*/ 0 w 250"/>
                <a:gd name="T1" fmla="*/ 0 h 250"/>
                <a:gd name="T2" fmla="*/ 0 w 250"/>
                <a:gd name="T3" fmla="*/ 0 h 250"/>
                <a:gd name="T4" fmla="*/ 0 w 250"/>
                <a:gd name="T5" fmla="*/ 0 h 250"/>
                <a:gd name="T6" fmla="*/ 0 w 250"/>
                <a:gd name="T7" fmla="*/ 0 h 25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50" h="250">
                  <a:moveTo>
                    <a:pt x="0" y="0"/>
                  </a:moveTo>
                  <a:cubicBezTo>
                    <a:pt x="0" y="69"/>
                    <a:pt x="56" y="125"/>
                    <a:pt x="125" y="125"/>
                  </a:cubicBezTo>
                  <a:cubicBezTo>
                    <a:pt x="194" y="125"/>
                    <a:pt x="250" y="69"/>
                    <a:pt x="250" y="0"/>
                  </a:cubicBezTo>
                  <a:lnTo>
                    <a:pt x="25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4113" name="Group 46"/>
          <p:cNvGrpSpPr>
            <a:grpSpLocks/>
          </p:cNvGrpSpPr>
          <p:nvPr userDrawn="1"/>
        </p:nvGrpSpPr>
        <p:grpSpPr bwMode="auto">
          <a:xfrm>
            <a:off x="7918456" y="26988"/>
            <a:ext cx="981075" cy="709612"/>
            <a:chOff x="4988" y="17"/>
            <a:chExt cx="618" cy="447"/>
          </a:xfrm>
        </p:grpSpPr>
        <p:sp>
          <p:nvSpPr>
            <p:cNvPr id="4138" name="Freeform 47"/>
            <p:cNvSpPr>
              <a:spLocks/>
            </p:cNvSpPr>
            <p:nvPr userDrawn="1"/>
          </p:nvSpPr>
          <p:spPr bwMode="auto">
            <a:xfrm>
              <a:off x="4999" y="24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39" name="Freeform 48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40" name="Freeform 49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114" name="Rectangle 50"/>
          <p:cNvSpPr>
            <a:spLocks noChangeArrowheads="1"/>
          </p:cNvSpPr>
          <p:nvPr userDrawn="1"/>
        </p:nvSpPr>
        <p:spPr bwMode="auto">
          <a:xfrm>
            <a:off x="8226425" y="33363"/>
            <a:ext cx="64120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I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5" name="Rectangle 51"/>
          <p:cNvSpPr>
            <a:spLocks noChangeArrowheads="1"/>
          </p:cNvSpPr>
          <p:nvPr userDrawn="1"/>
        </p:nvSpPr>
        <p:spPr bwMode="auto">
          <a:xfrm>
            <a:off x="8274050" y="163543"/>
            <a:ext cx="15709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M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6" name="Rectangle 52"/>
          <p:cNvSpPr>
            <a:spLocks noChangeArrowheads="1"/>
          </p:cNvSpPr>
          <p:nvPr userDrawn="1"/>
        </p:nvSpPr>
        <p:spPr bwMode="auto">
          <a:xfrm>
            <a:off x="8378825" y="274668"/>
            <a:ext cx="13946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&amp;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7" name="Rectangle 53"/>
          <p:cNvSpPr>
            <a:spLocks noChangeArrowheads="1"/>
          </p:cNvSpPr>
          <p:nvPr userDrawn="1"/>
        </p:nvSpPr>
        <p:spPr bwMode="auto">
          <a:xfrm>
            <a:off x="8485188" y="409598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D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18" name="Rectangle 54"/>
          <p:cNvSpPr>
            <a:spLocks noChangeArrowheads="1"/>
          </p:cNvSpPr>
          <p:nvPr userDrawn="1"/>
        </p:nvSpPr>
        <p:spPr bwMode="auto">
          <a:xfrm>
            <a:off x="8596313" y="527080"/>
            <a:ext cx="9297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S</a:t>
            </a:r>
            <a:endParaRPr lang="en-US" altLang="en-US">
              <a:solidFill>
                <a:srgbClr val="000000"/>
              </a:solidFill>
            </a:endParaRPr>
          </a:p>
        </p:txBody>
      </p:sp>
      <p:grpSp>
        <p:nvGrpSpPr>
          <p:cNvPr id="4119" name="Group 55"/>
          <p:cNvGrpSpPr>
            <a:grpSpLocks/>
          </p:cNvGrpSpPr>
          <p:nvPr userDrawn="1"/>
        </p:nvGrpSpPr>
        <p:grpSpPr bwMode="auto">
          <a:xfrm>
            <a:off x="7918456" y="26988"/>
            <a:ext cx="981075" cy="709612"/>
            <a:chOff x="4988" y="17"/>
            <a:chExt cx="618" cy="447"/>
          </a:xfrm>
        </p:grpSpPr>
        <p:sp>
          <p:nvSpPr>
            <p:cNvPr id="4135" name="Freeform 56"/>
            <p:cNvSpPr>
              <a:spLocks/>
            </p:cNvSpPr>
            <p:nvPr userDrawn="1"/>
          </p:nvSpPr>
          <p:spPr bwMode="auto">
            <a:xfrm>
              <a:off x="4999" y="24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36" name="Freeform 57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37" name="Freeform 58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120" name="Rectangle 59"/>
          <p:cNvSpPr>
            <a:spLocks noChangeArrowheads="1"/>
          </p:cNvSpPr>
          <p:nvPr userDrawn="1"/>
        </p:nvSpPr>
        <p:spPr bwMode="auto">
          <a:xfrm>
            <a:off x="8153424" y="33346"/>
            <a:ext cx="174625" cy="205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I</a:t>
            </a:r>
          </a:p>
        </p:txBody>
      </p:sp>
      <p:sp>
        <p:nvSpPr>
          <p:cNvPr id="4121" name="Rectangle 60"/>
          <p:cNvSpPr>
            <a:spLocks noChangeArrowheads="1"/>
          </p:cNvSpPr>
          <p:nvPr userDrawn="1"/>
        </p:nvSpPr>
        <p:spPr bwMode="auto">
          <a:xfrm>
            <a:off x="8274050" y="163543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A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22" name="Rectangle 61"/>
          <p:cNvSpPr>
            <a:spLocks noChangeArrowheads="1"/>
          </p:cNvSpPr>
          <p:nvPr userDrawn="1"/>
        </p:nvSpPr>
        <p:spPr bwMode="auto">
          <a:xfrm>
            <a:off x="8378825" y="274668"/>
            <a:ext cx="13946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&amp;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23" name="Rectangle 62"/>
          <p:cNvSpPr>
            <a:spLocks noChangeArrowheads="1"/>
          </p:cNvSpPr>
          <p:nvPr userDrawn="1"/>
        </p:nvSpPr>
        <p:spPr bwMode="auto">
          <a:xfrm>
            <a:off x="8485188" y="409598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D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24" name="Rectangle 63"/>
          <p:cNvSpPr>
            <a:spLocks noChangeArrowheads="1"/>
          </p:cNvSpPr>
          <p:nvPr userDrawn="1"/>
        </p:nvSpPr>
        <p:spPr bwMode="auto">
          <a:xfrm>
            <a:off x="8596313" y="527080"/>
            <a:ext cx="9297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>
                <a:solidFill>
                  <a:srgbClr val="FFFFFF"/>
                </a:solidFill>
                <a:latin typeface="Times New Roman" pitchFamily="18" charset="0"/>
              </a:rPr>
              <a:t>S</a:t>
            </a: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125" name="Rectangle 64"/>
          <p:cNvSpPr>
            <a:spLocks noChangeArrowheads="1"/>
          </p:cNvSpPr>
          <p:nvPr userDrawn="1"/>
        </p:nvSpPr>
        <p:spPr bwMode="auto">
          <a:xfrm>
            <a:off x="7991482" y="566767"/>
            <a:ext cx="365485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900" b="1" i="1">
                <a:solidFill>
                  <a:srgbClr val="FFFFFF"/>
                </a:solidFill>
              </a:rPr>
              <a:t>1Team</a:t>
            </a:r>
            <a:endParaRPr lang="en-US" altLang="en-US">
              <a:solidFill>
                <a:srgbClr val="000000"/>
              </a:solidFill>
            </a:endParaRPr>
          </a:p>
        </p:txBody>
      </p:sp>
      <p:grpSp>
        <p:nvGrpSpPr>
          <p:cNvPr id="4126" name="Group 65"/>
          <p:cNvGrpSpPr>
            <a:grpSpLocks/>
          </p:cNvGrpSpPr>
          <p:nvPr userDrawn="1"/>
        </p:nvGrpSpPr>
        <p:grpSpPr bwMode="auto">
          <a:xfrm>
            <a:off x="7948614" y="549290"/>
            <a:ext cx="431800" cy="176213"/>
            <a:chOff x="5007" y="339"/>
            <a:chExt cx="133" cy="111"/>
          </a:xfrm>
        </p:grpSpPr>
        <p:sp>
          <p:nvSpPr>
            <p:cNvPr id="4130" name="Freeform 66"/>
            <p:cNvSpPr>
              <a:spLocks/>
            </p:cNvSpPr>
            <p:nvPr userDrawn="1"/>
          </p:nvSpPr>
          <p:spPr bwMode="auto">
            <a:xfrm>
              <a:off x="5007" y="339"/>
              <a:ext cx="133" cy="111"/>
            </a:xfrm>
            <a:custGeom>
              <a:avLst/>
              <a:gdLst>
                <a:gd name="T0" fmla="*/ 0 w 4800"/>
                <a:gd name="T1" fmla="*/ 0 h 4000"/>
                <a:gd name="T2" fmla="*/ 0 w 4800"/>
                <a:gd name="T3" fmla="*/ 0 h 4000"/>
                <a:gd name="T4" fmla="*/ 0 w 4800"/>
                <a:gd name="T5" fmla="*/ 0 h 4000"/>
                <a:gd name="T6" fmla="*/ 0 w 4800"/>
                <a:gd name="T7" fmla="*/ 0 h 4000"/>
                <a:gd name="T8" fmla="*/ 0 w 4800"/>
                <a:gd name="T9" fmla="*/ 0 h 4000"/>
                <a:gd name="T10" fmla="*/ 0 w 4800"/>
                <a:gd name="T11" fmla="*/ 0 h 4000"/>
                <a:gd name="T12" fmla="*/ 0 w 4800"/>
                <a:gd name="T13" fmla="*/ 0 h 4000"/>
                <a:gd name="T14" fmla="*/ 0 w 4800"/>
                <a:gd name="T15" fmla="*/ 0 h 4000"/>
                <a:gd name="T16" fmla="*/ 0 w 4800"/>
                <a:gd name="T17" fmla="*/ 0 h 4000"/>
                <a:gd name="T18" fmla="*/ 0 w 4800"/>
                <a:gd name="T19" fmla="*/ 0 h 4000"/>
                <a:gd name="T20" fmla="*/ 0 w 4800"/>
                <a:gd name="T21" fmla="*/ 0 h 4000"/>
                <a:gd name="T22" fmla="*/ 0 w 4800"/>
                <a:gd name="T23" fmla="*/ 0 h 4000"/>
                <a:gd name="T24" fmla="*/ 0 w 4800"/>
                <a:gd name="T25" fmla="*/ 0 h 4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800" h="4000">
                  <a:moveTo>
                    <a:pt x="0" y="750"/>
                  </a:moveTo>
                  <a:cubicBezTo>
                    <a:pt x="0" y="612"/>
                    <a:pt x="112" y="500"/>
                    <a:pt x="250" y="500"/>
                  </a:cubicBezTo>
                  <a:lnTo>
                    <a:pt x="4300" y="500"/>
                  </a:lnTo>
                  <a:lnTo>
                    <a:pt x="4300" y="250"/>
                  </a:lnTo>
                  <a:cubicBezTo>
                    <a:pt x="4300" y="112"/>
                    <a:pt x="4412" y="0"/>
                    <a:pt x="4550" y="0"/>
                  </a:cubicBezTo>
                  <a:cubicBezTo>
                    <a:pt x="4688" y="0"/>
                    <a:pt x="4800" y="112"/>
                    <a:pt x="4800" y="250"/>
                  </a:cubicBezTo>
                  <a:lnTo>
                    <a:pt x="4800" y="3250"/>
                  </a:lnTo>
                  <a:cubicBezTo>
                    <a:pt x="4800" y="3388"/>
                    <a:pt x="4688" y="3500"/>
                    <a:pt x="4550" y="3500"/>
                  </a:cubicBezTo>
                  <a:lnTo>
                    <a:pt x="500" y="3500"/>
                  </a:lnTo>
                  <a:lnTo>
                    <a:pt x="500" y="3750"/>
                  </a:lnTo>
                  <a:cubicBezTo>
                    <a:pt x="500" y="3888"/>
                    <a:pt x="388" y="4000"/>
                    <a:pt x="250" y="4000"/>
                  </a:cubicBezTo>
                  <a:cubicBezTo>
                    <a:pt x="112" y="4000"/>
                    <a:pt x="0" y="3888"/>
                    <a:pt x="0" y="3750"/>
                  </a:cubicBezTo>
                  <a:lnTo>
                    <a:pt x="0" y="750"/>
                  </a:lnTo>
                  <a:close/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31" name="Freeform 67"/>
            <p:cNvSpPr>
              <a:spLocks/>
            </p:cNvSpPr>
            <p:nvPr userDrawn="1"/>
          </p:nvSpPr>
          <p:spPr bwMode="auto">
            <a:xfrm>
              <a:off x="5007" y="356"/>
              <a:ext cx="14" cy="11"/>
            </a:xfrm>
            <a:custGeom>
              <a:avLst/>
              <a:gdLst>
                <a:gd name="T0" fmla="*/ 0 w 500"/>
                <a:gd name="T1" fmla="*/ 0 h 375"/>
                <a:gd name="T2" fmla="*/ 0 w 500"/>
                <a:gd name="T3" fmla="*/ 0 h 375"/>
                <a:gd name="T4" fmla="*/ 0 w 500"/>
                <a:gd name="T5" fmla="*/ 0 h 375"/>
                <a:gd name="T6" fmla="*/ 0 w 500"/>
                <a:gd name="T7" fmla="*/ 0 h 375"/>
                <a:gd name="T8" fmla="*/ 0 w 500"/>
                <a:gd name="T9" fmla="*/ 0 h 375"/>
                <a:gd name="T10" fmla="*/ 0 w 500"/>
                <a:gd name="T11" fmla="*/ 0 h 37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0" h="375">
                  <a:moveTo>
                    <a:pt x="0" y="125"/>
                  </a:moveTo>
                  <a:cubicBezTo>
                    <a:pt x="0" y="263"/>
                    <a:pt x="112" y="375"/>
                    <a:pt x="250" y="375"/>
                  </a:cubicBezTo>
                  <a:cubicBezTo>
                    <a:pt x="388" y="375"/>
                    <a:pt x="500" y="263"/>
                    <a:pt x="500" y="125"/>
                  </a:cubicBezTo>
                  <a:cubicBezTo>
                    <a:pt x="500" y="56"/>
                    <a:pt x="444" y="0"/>
                    <a:pt x="375" y="0"/>
                  </a:cubicBezTo>
                  <a:cubicBezTo>
                    <a:pt x="306" y="0"/>
                    <a:pt x="250" y="56"/>
                    <a:pt x="250" y="125"/>
                  </a:cubicBezTo>
                  <a:lnTo>
                    <a:pt x="250" y="375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32" name="Line 68"/>
            <p:cNvSpPr>
              <a:spLocks noChangeShapeType="1"/>
            </p:cNvSpPr>
            <p:nvPr userDrawn="1"/>
          </p:nvSpPr>
          <p:spPr bwMode="auto">
            <a:xfrm>
              <a:off x="5021" y="360"/>
              <a:ext cx="0" cy="76"/>
            </a:xfrm>
            <a:prstGeom prst="line">
              <a:avLst/>
            </a:prstGeom>
            <a:noFill/>
            <a:ln w="4763" cap="rnd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33" name="Freeform 69"/>
            <p:cNvSpPr>
              <a:spLocks/>
            </p:cNvSpPr>
            <p:nvPr userDrawn="1"/>
          </p:nvSpPr>
          <p:spPr bwMode="auto">
            <a:xfrm>
              <a:off x="5126" y="346"/>
              <a:ext cx="14" cy="7"/>
            </a:xfrm>
            <a:custGeom>
              <a:avLst/>
              <a:gdLst>
                <a:gd name="T0" fmla="*/ 0 w 500"/>
                <a:gd name="T1" fmla="*/ 0 h 250"/>
                <a:gd name="T2" fmla="*/ 0 w 500"/>
                <a:gd name="T3" fmla="*/ 0 h 250"/>
                <a:gd name="T4" fmla="*/ 0 w 500"/>
                <a:gd name="T5" fmla="*/ 0 h 25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500" h="250">
                  <a:moveTo>
                    <a:pt x="500" y="0"/>
                  </a:moveTo>
                  <a:cubicBezTo>
                    <a:pt x="500" y="138"/>
                    <a:pt x="388" y="250"/>
                    <a:pt x="250" y="250"/>
                  </a:cubicBezTo>
                  <a:lnTo>
                    <a:pt x="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34" name="Freeform 70"/>
            <p:cNvSpPr>
              <a:spLocks/>
            </p:cNvSpPr>
            <p:nvPr userDrawn="1"/>
          </p:nvSpPr>
          <p:spPr bwMode="auto">
            <a:xfrm>
              <a:off x="5126" y="346"/>
              <a:ext cx="7" cy="7"/>
            </a:xfrm>
            <a:custGeom>
              <a:avLst/>
              <a:gdLst>
                <a:gd name="T0" fmla="*/ 0 w 250"/>
                <a:gd name="T1" fmla="*/ 0 h 250"/>
                <a:gd name="T2" fmla="*/ 0 w 250"/>
                <a:gd name="T3" fmla="*/ 0 h 250"/>
                <a:gd name="T4" fmla="*/ 0 w 250"/>
                <a:gd name="T5" fmla="*/ 0 h 250"/>
                <a:gd name="T6" fmla="*/ 0 w 250"/>
                <a:gd name="T7" fmla="*/ 0 h 25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50" h="250">
                  <a:moveTo>
                    <a:pt x="0" y="0"/>
                  </a:moveTo>
                  <a:cubicBezTo>
                    <a:pt x="0" y="69"/>
                    <a:pt x="56" y="125"/>
                    <a:pt x="125" y="125"/>
                  </a:cubicBezTo>
                  <a:cubicBezTo>
                    <a:pt x="194" y="125"/>
                    <a:pt x="250" y="69"/>
                    <a:pt x="250" y="0"/>
                  </a:cubicBezTo>
                  <a:lnTo>
                    <a:pt x="25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pic>
        <p:nvPicPr>
          <p:cNvPr id="4127" name="Picture 8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8" y="6327789"/>
            <a:ext cx="1200150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28" name="Picture 9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8" y="6327789"/>
            <a:ext cx="1200150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29" name="Picture 10"/>
          <p:cNvPicPr>
            <a:picLocks noChangeAspect="1" noChangeArrowheads="1"/>
          </p:cNvPicPr>
          <p:nvPr userDrawn="1">
            <p:custDataLst>
              <p:tags r:id="rId1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8" y="6327789"/>
            <a:ext cx="1200150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113" r:id="rId1"/>
    <p:sldLayoutId id="2147485036" r:id="rId2"/>
    <p:sldLayoutId id="2147485037" r:id="rId3"/>
    <p:sldLayoutId id="2147485038" r:id="rId4"/>
    <p:sldLayoutId id="2147485039" r:id="rId5"/>
    <p:sldLayoutId id="2147485040" r:id="rId6"/>
    <p:sldLayoutId id="2147485041" r:id="rId7"/>
    <p:sldLayoutId id="2147485042" r:id="rId8"/>
    <p:sldLayoutId id="2147485043" r:id="rId9"/>
    <p:sldLayoutId id="2147485044" r:id="rId10"/>
    <p:sldLayoutId id="2147485045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5pPr>
      <a:lvl6pPr marL="456354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6pPr>
      <a:lvl7pPr marL="912714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7pPr>
      <a:lvl8pPr marL="1369077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8pPr>
      <a:lvl9pPr marL="1825426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28180" indent="-22818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70451" indent="-22818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2pPr>
      <a:lvl3pPr marL="798624" indent="-114091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Char char="•"/>
        <a:defRPr sz="1400">
          <a:solidFill>
            <a:schemeClr val="tx1"/>
          </a:solidFill>
          <a:latin typeface="+mn-lt"/>
          <a:cs typeface="+mn-cs"/>
        </a:defRPr>
      </a:lvl3pPr>
      <a:lvl4pPr marL="1090184" indent="-17747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Char char="–"/>
        <a:defRPr sz="1200">
          <a:solidFill>
            <a:schemeClr val="tx1"/>
          </a:solidFill>
          <a:latin typeface="+mn-lt"/>
          <a:cs typeface="+mn-cs"/>
        </a:defRPr>
      </a:lvl4pPr>
      <a:lvl5pPr marL="1369077" indent="-164794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5pPr>
      <a:lvl6pPr marL="1825426" indent="-164794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6pPr>
      <a:lvl7pPr marL="2281780" indent="-164794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7pPr>
      <a:lvl8pPr marL="2738136" indent="-164794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8pPr>
      <a:lvl9pPr marL="3194492" indent="-164794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5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71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077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42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78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13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492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84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ZS Draft Indicator"/>
          <p:cNvSpPr txBox="1">
            <a:spLocks noChangeArrowheads="1"/>
          </p:cNvSpPr>
          <p:nvPr userDrawn="1"/>
        </p:nvSpPr>
        <p:spPr bwMode="blackWhite">
          <a:xfrm>
            <a:off x="3319463" y="46048"/>
            <a:ext cx="25146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38" rIns="91270" bIns="45638" anchor="b"/>
          <a:lstStyle>
            <a:lvl1pPr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en-US" sz="1200" b="1" i="1" u="none">
                <a:solidFill>
                  <a:srgbClr val="A41128"/>
                </a:solidFill>
              </a:rPr>
              <a:t>Draft</a:t>
            </a:r>
          </a:p>
        </p:txBody>
      </p:sp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" y="0"/>
            <a:ext cx="9115425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22245"/>
            <a:ext cx="82296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7173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062039"/>
            <a:ext cx="8229600" cy="522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</a:t>
            </a:r>
          </a:p>
          <a:p>
            <a:pPr lvl="1"/>
            <a:r>
              <a:rPr lang="en-US" altLang="en-US"/>
              <a:t>Second levelFifth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endParaRPr lang="en-US" altLang="en-US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4"/>
          </p:nvPr>
        </p:nvSpPr>
        <p:spPr bwMode="auto">
          <a:xfrm>
            <a:off x="8402638" y="6529388"/>
            <a:ext cx="741362" cy="328612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270" tIns="45642" rIns="91270" bIns="45642" numCol="1" anchor="ctr" anchorCtr="1" compatLnSpc="1">
            <a:prstTxWarp prst="textNoShape">
              <a:avLst/>
            </a:prstTxWarp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b="1" u="none"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3D1EAC97-74FA-47A1-89B2-57AB9E8240E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046" r:id="rId1"/>
    <p:sldLayoutId id="2147485047" r:id="rId2"/>
    <p:sldLayoutId id="2147485048" r:id="rId3"/>
    <p:sldLayoutId id="2147485049" r:id="rId4"/>
    <p:sldLayoutId id="2147485050" r:id="rId5"/>
    <p:sldLayoutId id="2147485051" r:id="rId6"/>
    <p:sldLayoutId id="2147485052" r:id="rId7"/>
    <p:sldLayoutId id="2147485053" r:id="rId8"/>
    <p:sldLayoutId id="2147485054" r:id="rId9"/>
    <p:sldLayoutId id="2147485055" r:id="rId10"/>
    <p:sldLayoutId id="2147485056" r:id="rId11"/>
  </p:sldLayoutIdLst>
  <p:transition>
    <p:fade/>
  </p:transition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5635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1271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369077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825426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342270" indent="-34227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400">
          <a:solidFill>
            <a:srgbClr val="292929"/>
          </a:solidFill>
          <a:latin typeface="+mn-lt"/>
          <a:ea typeface="+mn-ea"/>
          <a:cs typeface="+mn-cs"/>
        </a:defRPr>
      </a:lvl1pPr>
      <a:lvl2pPr marL="342270" indent="-22818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itchFamily="34" charset="0"/>
        <a:buChar char="–"/>
        <a:defRPr sz="2000">
          <a:solidFill>
            <a:srgbClr val="333333"/>
          </a:solidFill>
          <a:latin typeface="+mn-lt"/>
          <a:cs typeface="+mn-cs"/>
        </a:defRPr>
      </a:lvl2pPr>
      <a:lvl3pPr marL="741579" indent="-28522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2400">
          <a:solidFill>
            <a:srgbClr val="4D4D4D"/>
          </a:solidFill>
          <a:latin typeface="+mn-lt"/>
          <a:cs typeface="+mn-cs"/>
        </a:defRPr>
      </a:lvl3pPr>
      <a:lvl4pPr marL="1026810" indent="-17113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o"/>
        <a:defRPr sz="1600">
          <a:solidFill>
            <a:srgbClr val="5F5F5F"/>
          </a:solidFill>
          <a:latin typeface="+mn-lt"/>
          <a:cs typeface="+mn-cs"/>
        </a:defRPr>
      </a:lvl4pPr>
      <a:lvl5pPr marL="1369077" indent="-228180" algn="l" rtl="0" eaLnBrk="0" fontAlgn="base" hangingPunct="0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5pPr>
      <a:lvl6pPr marL="182542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6pPr>
      <a:lvl7pPr marL="2281780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7pPr>
      <a:lvl8pPr marL="273813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8pPr>
      <a:lvl9pPr marL="3194492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5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71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077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42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78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13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492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84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ZS Draft Indicator"/>
          <p:cNvSpPr txBox="1">
            <a:spLocks noChangeArrowheads="1"/>
          </p:cNvSpPr>
          <p:nvPr userDrawn="1"/>
        </p:nvSpPr>
        <p:spPr bwMode="blackWhite">
          <a:xfrm>
            <a:off x="3319463" y="46048"/>
            <a:ext cx="25146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38" rIns="91270" bIns="45638" anchor="b"/>
          <a:lstStyle>
            <a:lvl1pPr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en-US" sz="1200" b="1" i="1" u="none">
                <a:solidFill>
                  <a:srgbClr val="A41128"/>
                </a:solidFill>
              </a:rPr>
              <a:t>Draft</a:t>
            </a:r>
          </a:p>
        </p:txBody>
      </p:sp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" y="0"/>
            <a:ext cx="9115425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22245"/>
            <a:ext cx="82296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8197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062039"/>
            <a:ext cx="8229600" cy="522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</a:t>
            </a:r>
          </a:p>
          <a:p>
            <a:pPr lvl="1"/>
            <a:r>
              <a:rPr lang="en-US" altLang="en-US"/>
              <a:t>Second levelFifth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endParaRPr lang="en-US" altLang="en-US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4"/>
          </p:nvPr>
        </p:nvSpPr>
        <p:spPr bwMode="auto">
          <a:xfrm>
            <a:off x="8402638" y="6529388"/>
            <a:ext cx="741362" cy="328612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270" tIns="45642" rIns="91270" bIns="45642" numCol="1" anchor="ctr" anchorCtr="1" compatLnSpc="1">
            <a:prstTxWarp prst="textNoShape">
              <a:avLst/>
            </a:prstTxWarp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b="1" u="none"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619D8D1-2D27-4C1D-AFFE-245B4A63701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057" r:id="rId1"/>
    <p:sldLayoutId id="2147485058" r:id="rId2"/>
    <p:sldLayoutId id="2147485059" r:id="rId3"/>
    <p:sldLayoutId id="2147485060" r:id="rId4"/>
    <p:sldLayoutId id="2147485061" r:id="rId5"/>
    <p:sldLayoutId id="2147485062" r:id="rId6"/>
    <p:sldLayoutId id="2147485063" r:id="rId7"/>
    <p:sldLayoutId id="2147485064" r:id="rId8"/>
    <p:sldLayoutId id="2147485065" r:id="rId9"/>
    <p:sldLayoutId id="2147485066" r:id="rId10"/>
    <p:sldLayoutId id="2147485067" r:id="rId11"/>
  </p:sldLayoutIdLst>
  <p:transition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5635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1271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369077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825426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342270" indent="-34227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400">
          <a:solidFill>
            <a:srgbClr val="292929"/>
          </a:solidFill>
          <a:latin typeface="+mn-lt"/>
          <a:ea typeface="+mn-ea"/>
          <a:cs typeface="+mn-cs"/>
        </a:defRPr>
      </a:lvl1pPr>
      <a:lvl2pPr marL="342270" indent="-22818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itchFamily="34" charset="0"/>
        <a:buChar char="–"/>
        <a:defRPr sz="2000">
          <a:solidFill>
            <a:srgbClr val="333333"/>
          </a:solidFill>
          <a:latin typeface="+mn-lt"/>
          <a:cs typeface="+mn-cs"/>
        </a:defRPr>
      </a:lvl2pPr>
      <a:lvl3pPr marL="741579" indent="-28522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2400">
          <a:solidFill>
            <a:srgbClr val="4D4D4D"/>
          </a:solidFill>
          <a:latin typeface="+mn-lt"/>
          <a:cs typeface="+mn-cs"/>
        </a:defRPr>
      </a:lvl3pPr>
      <a:lvl4pPr marL="1026810" indent="-17113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o"/>
        <a:defRPr sz="1600">
          <a:solidFill>
            <a:srgbClr val="5F5F5F"/>
          </a:solidFill>
          <a:latin typeface="+mn-lt"/>
          <a:cs typeface="+mn-cs"/>
        </a:defRPr>
      </a:lvl4pPr>
      <a:lvl5pPr marL="1369077" indent="-228180" algn="l" rtl="0" eaLnBrk="0" fontAlgn="base" hangingPunct="0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5pPr>
      <a:lvl6pPr marL="182542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6pPr>
      <a:lvl7pPr marL="2281780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7pPr>
      <a:lvl8pPr marL="273813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8pPr>
      <a:lvl9pPr marL="3194492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5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71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077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42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78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13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492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84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ZS Draft Indicator"/>
          <p:cNvSpPr txBox="1">
            <a:spLocks noChangeArrowheads="1"/>
          </p:cNvSpPr>
          <p:nvPr userDrawn="1"/>
        </p:nvSpPr>
        <p:spPr bwMode="blackWhite">
          <a:xfrm>
            <a:off x="3319463" y="46048"/>
            <a:ext cx="25146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38" rIns="91270" bIns="45638" anchor="b"/>
          <a:lstStyle>
            <a:lvl1pPr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en-US" sz="1200" b="1" i="1" u="none">
                <a:solidFill>
                  <a:srgbClr val="A41128"/>
                </a:solidFill>
              </a:rPr>
              <a:t>Draft</a:t>
            </a:r>
          </a:p>
        </p:txBody>
      </p:sp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" y="0"/>
            <a:ext cx="9115425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6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22245"/>
            <a:ext cx="82296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1269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062039"/>
            <a:ext cx="8229600" cy="522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</a:t>
            </a:r>
          </a:p>
          <a:p>
            <a:pPr lvl="1"/>
            <a:r>
              <a:rPr lang="en-US" altLang="en-US"/>
              <a:t>Second levelFifth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endParaRPr lang="en-US" altLang="en-US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4"/>
          </p:nvPr>
        </p:nvSpPr>
        <p:spPr bwMode="auto">
          <a:xfrm>
            <a:off x="8402638" y="6529388"/>
            <a:ext cx="741362" cy="328612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270" tIns="45642" rIns="91270" bIns="45642" numCol="1" anchor="ctr" anchorCtr="1" compatLnSpc="1">
            <a:prstTxWarp prst="textNoShape">
              <a:avLst/>
            </a:prstTxWarp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b="1" u="none"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7E5DDEB-010E-4D3B-8FD3-949E155F04A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079" r:id="rId1"/>
    <p:sldLayoutId id="2147485080" r:id="rId2"/>
    <p:sldLayoutId id="2147485081" r:id="rId3"/>
    <p:sldLayoutId id="2147485082" r:id="rId4"/>
    <p:sldLayoutId id="2147485083" r:id="rId5"/>
    <p:sldLayoutId id="2147485084" r:id="rId6"/>
    <p:sldLayoutId id="2147485085" r:id="rId7"/>
    <p:sldLayoutId id="2147485086" r:id="rId8"/>
    <p:sldLayoutId id="2147485087" r:id="rId9"/>
    <p:sldLayoutId id="2147485088" r:id="rId10"/>
    <p:sldLayoutId id="2147485089" r:id="rId11"/>
  </p:sldLayoutIdLst>
  <p:transition>
    <p:fade/>
  </p:transition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5635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1271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369077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825426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342270" indent="-34227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400">
          <a:solidFill>
            <a:srgbClr val="292929"/>
          </a:solidFill>
          <a:latin typeface="+mn-lt"/>
          <a:ea typeface="+mn-ea"/>
          <a:cs typeface="+mn-cs"/>
        </a:defRPr>
      </a:lvl1pPr>
      <a:lvl2pPr marL="342270" indent="-22818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itchFamily="34" charset="0"/>
        <a:buChar char="–"/>
        <a:defRPr sz="2000">
          <a:solidFill>
            <a:srgbClr val="333333"/>
          </a:solidFill>
          <a:latin typeface="+mn-lt"/>
          <a:cs typeface="+mn-cs"/>
        </a:defRPr>
      </a:lvl2pPr>
      <a:lvl3pPr marL="741579" indent="-28522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2400">
          <a:solidFill>
            <a:srgbClr val="4D4D4D"/>
          </a:solidFill>
          <a:latin typeface="+mn-lt"/>
          <a:cs typeface="+mn-cs"/>
        </a:defRPr>
      </a:lvl3pPr>
      <a:lvl4pPr marL="1026810" indent="-17113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o"/>
        <a:defRPr sz="1600">
          <a:solidFill>
            <a:srgbClr val="5F5F5F"/>
          </a:solidFill>
          <a:latin typeface="+mn-lt"/>
          <a:cs typeface="+mn-cs"/>
        </a:defRPr>
      </a:lvl4pPr>
      <a:lvl5pPr marL="1369077" indent="-228180" algn="l" rtl="0" eaLnBrk="0" fontAlgn="base" hangingPunct="0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5pPr>
      <a:lvl6pPr marL="182542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6pPr>
      <a:lvl7pPr marL="2281780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7pPr>
      <a:lvl8pPr marL="273813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8pPr>
      <a:lvl9pPr marL="3194492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5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71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077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42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78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13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492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84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ZS Draft Indicator"/>
          <p:cNvSpPr txBox="1">
            <a:spLocks noChangeArrowheads="1"/>
          </p:cNvSpPr>
          <p:nvPr userDrawn="1"/>
        </p:nvSpPr>
        <p:spPr bwMode="blackWhite">
          <a:xfrm>
            <a:off x="3319463" y="46048"/>
            <a:ext cx="25146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38" rIns="91270" bIns="45638" anchor="b"/>
          <a:lstStyle>
            <a:lvl1pPr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en-US" sz="1200" b="1" i="1" u="none">
                <a:solidFill>
                  <a:srgbClr val="A41128"/>
                </a:solidFill>
              </a:rPr>
              <a:t>Draft</a:t>
            </a:r>
          </a:p>
        </p:txBody>
      </p:sp>
      <p:pic>
        <p:nvPicPr>
          <p:cNvPr id="12291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" y="0"/>
            <a:ext cx="9115425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9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22245"/>
            <a:ext cx="82296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2293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062039"/>
            <a:ext cx="8229600" cy="522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</a:t>
            </a:r>
          </a:p>
          <a:p>
            <a:pPr lvl="1"/>
            <a:r>
              <a:rPr lang="en-US" altLang="en-US"/>
              <a:t>Second levelFifth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endParaRPr lang="en-US" altLang="en-US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4"/>
          </p:nvPr>
        </p:nvSpPr>
        <p:spPr bwMode="auto">
          <a:xfrm>
            <a:off x="8402638" y="6529388"/>
            <a:ext cx="741362" cy="328612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270" tIns="45642" rIns="91270" bIns="45642" numCol="1" anchor="ctr" anchorCtr="1" compatLnSpc="1">
            <a:prstTxWarp prst="textNoShape">
              <a:avLst/>
            </a:prstTxWarp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b="1" u="none"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8D4FBD7-F831-4DA2-8A77-6312BE259B5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090" r:id="rId1"/>
    <p:sldLayoutId id="2147485091" r:id="rId2"/>
    <p:sldLayoutId id="2147485092" r:id="rId3"/>
    <p:sldLayoutId id="2147485093" r:id="rId4"/>
    <p:sldLayoutId id="2147485094" r:id="rId5"/>
    <p:sldLayoutId id="2147485095" r:id="rId6"/>
    <p:sldLayoutId id="2147485096" r:id="rId7"/>
    <p:sldLayoutId id="2147485097" r:id="rId8"/>
    <p:sldLayoutId id="2147485098" r:id="rId9"/>
    <p:sldLayoutId id="2147485099" r:id="rId10"/>
    <p:sldLayoutId id="2147485100" r:id="rId11"/>
  </p:sldLayoutIdLst>
  <p:transition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5635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1271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369077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825426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342270" indent="-34227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400">
          <a:solidFill>
            <a:srgbClr val="292929"/>
          </a:solidFill>
          <a:latin typeface="+mn-lt"/>
          <a:ea typeface="+mn-ea"/>
          <a:cs typeface="+mn-cs"/>
        </a:defRPr>
      </a:lvl1pPr>
      <a:lvl2pPr marL="342270" indent="-22818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itchFamily="34" charset="0"/>
        <a:buChar char="–"/>
        <a:defRPr sz="2000">
          <a:solidFill>
            <a:srgbClr val="333333"/>
          </a:solidFill>
          <a:latin typeface="+mn-lt"/>
          <a:cs typeface="+mn-cs"/>
        </a:defRPr>
      </a:lvl2pPr>
      <a:lvl3pPr marL="741579" indent="-28522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2400">
          <a:solidFill>
            <a:srgbClr val="4D4D4D"/>
          </a:solidFill>
          <a:latin typeface="+mn-lt"/>
          <a:cs typeface="+mn-cs"/>
        </a:defRPr>
      </a:lvl3pPr>
      <a:lvl4pPr marL="1026810" indent="-17113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o"/>
        <a:defRPr sz="1600">
          <a:solidFill>
            <a:srgbClr val="5F5F5F"/>
          </a:solidFill>
          <a:latin typeface="+mn-lt"/>
          <a:cs typeface="+mn-cs"/>
        </a:defRPr>
      </a:lvl4pPr>
      <a:lvl5pPr marL="1369077" indent="-228180" algn="l" rtl="0" eaLnBrk="0" fontAlgn="base" hangingPunct="0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5pPr>
      <a:lvl6pPr marL="182542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6pPr>
      <a:lvl7pPr marL="2281780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7pPr>
      <a:lvl8pPr marL="273813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8pPr>
      <a:lvl9pPr marL="3194492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5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71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077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42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78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13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492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84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8610600" cy="1100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0"/>
            <a:ext cx="7620000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08" tIns="45659" rIns="91308" bIns="4565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371600"/>
            <a:ext cx="8382000" cy="4754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08" tIns="45659" rIns="91308" bIns="4565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52400" y="6473834"/>
            <a:ext cx="685800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08" tIns="45659" rIns="91308" bIns="45659" numCol="1" anchor="t" anchorCtr="0" compatLnSpc="1">
            <a:prstTxWarp prst="textNoShape">
              <a:avLst/>
            </a:prstTxWarp>
          </a:bodyPr>
          <a:lstStyle>
            <a:lvl1pPr algn="l">
              <a:buFontTx/>
              <a:buNone/>
              <a:defRPr sz="1000">
                <a:solidFill>
                  <a:schemeClr val="bg2"/>
                </a:solidFill>
              </a:defRPr>
            </a:lvl1pPr>
          </a:lstStyle>
          <a:p>
            <a:pPr defTabSz="913071">
              <a:defRPr/>
            </a:pPr>
            <a:fld id="{008BD1BD-F4A2-493B-8BA3-1D79115EC300}" type="slidenum">
              <a:rPr lang="en-US" smtClean="0">
                <a:solidFill>
                  <a:srgbClr val="808080"/>
                </a:solidFill>
                <a:latin typeface="Arial"/>
                <a:cs typeface="Arial"/>
              </a:rPr>
              <a:pPr defTabSz="913071">
                <a:defRPr/>
              </a:pPr>
              <a:t>‹#›</a:t>
            </a:fld>
            <a:endParaRPr lang="en-US" dirty="0">
              <a:solidFill>
                <a:srgbClr val="808080"/>
              </a:solidFill>
              <a:latin typeface="Arial"/>
              <a:cs typeface="Arial"/>
            </a:endParaRPr>
          </a:p>
        </p:txBody>
      </p:sp>
      <p:pic>
        <p:nvPicPr>
          <p:cNvPr id="2" name="Picture 6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450" y="6215073"/>
            <a:ext cx="1435100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805138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49" r:id="rId1"/>
    <p:sldLayoutId id="2147485250" r:id="rId2"/>
    <p:sldLayoutId id="2147485251" r:id="rId3"/>
    <p:sldLayoutId id="2147485252" r:id="rId4"/>
    <p:sldLayoutId id="2147485253" r:id="rId5"/>
    <p:sldLayoutId id="2147485254" r:id="rId6"/>
    <p:sldLayoutId id="2147485255" r:id="rId7"/>
    <p:sldLayoutId id="2147485256" r:id="rId8"/>
    <p:sldLayoutId id="2147485257" r:id="rId9"/>
    <p:sldLayoutId id="2147485258" r:id="rId10"/>
    <p:sldLayoutId id="2147485259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5pPr>
      <a:lvl6pPr marL="456535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6pPr>
      <a:lvl7pPr marL="913071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7pPr>
      <a:lvl8pPr marL="1369610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8pPr>
      <a:lvl9pPr marL="1826148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9pPr>
    </p:titleStyle>
    <p:bodyStyle>
      <a:lvl1pPr marL="228269" indent="-228269" algn="l" rtl="0" eaLnBrk="0" fontAlgn="base" hangingPunct="0">
        <a:lnSpc>
          <a:spcPct val="95000"/>
        </a:lnSpc>
        <a:spcBef>
          <a:spcPct val="40000"/>
        </a:spcBef>
        <a:spcAft>
          <a:spcPct val="10000"/>
        </a:spcAft>
        <a:buClr>
          <a:schemeClr val="accent1"/>
        </a:buClr>
        <a:buChar char="•"/>
        <a:tabLst>
          <a:tab pos="114134" algn="l"/>
        </a:tabLst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570672" indent="-228269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lr>
          <a:srgbClr val="B3A79F"/>
        </a:buClr>
        <a:buFont typeface="Arial" charset="0"/>
        <a:buChar char="–"/>
        <a:tabLst>
          <a:tab pos="114134" algn="l"/>
        </a:tabLst>
        <a:defRPr sz="2400">
          <a:solidFill>
            <a:schemeClr val="tx1"/>
          </a:solidFill>
          <a:latin typeface="+mn-lt"/>
          <a:cs typeface="+mn-cs"/>
        </a:defRPr>
      </a:lvl2pPr>
      <a:lvl3pPr marL="856004" indent="-171201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lr>
          <a:srgbClr val="8CC7BA"/>
        </a:buClr>
        <a:buChar char="•"/>
        <a:tabLst>
          <a:tab pos="114134" algn="l"/>
        </a:tabLst>
        <a:defRPr sz="2400">
          <a:solidFill>
            <a:schemeClr val="tx1"/>
          </a:solidFill>
          <a:latin typeface="+mn-lt"/>
          <a:cs typeface="+mn-cs"/>
        </a:defRPr>
      </a:lvl3pPr>
      <a:lvl4pPr marL="1198408" indent="-228269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har char="–"/>
        <a:tabLst>
          <a:tab pos="114134" algn="l"/>
        </a:tabLst>
        <a:defRPr sz="2000">
          <a:solidFill>
            <a:schemeClr val="tx1"/>
          </a:solidFill>
          <a:latin typeface="+mn-lt"/>
          <a:cs typeface="+mn-cs"/>
        </a:defRPr>
      </a:lvl4pPr>
      <a:lvl5pPr marL="2054414" indent="-228269" algn="l" rtl="0" eaLnBrk="0" fontAlgn="base" hangingPunct="0">
        <a:spcBef>
          <a:spcPct val="20000"/>
        </a:spcBef>
        <a:spcAft>
          <a:spcPct val="0"/>
        </a:spcAft>
        <a:buChar char="»"/>
        <a:tabLst>
          <a:tab pos="114134" algn="l"/>
        </a:tabLst>
        <a:defRPr sz="2000">
          <a:solidFill>
            <a:schemeClr val="tx1"/>
          </a:solidFill>
          <a:latin typeface="+mn-lt"/>
          <a:cs typeface="+mn-cs"/>
        </a:defRPr>
      </a:lvl5pPr>
      <a:lvl6pPr marL="2510948" indent="-228269" algn="l" rtl="0" fontAlgn="base">
        <a:spcBef>
          <a:spcPct val="20000"/>
        </a:spcBef>
        <a:spcAft>
          <a:spcPct val="0"/>
        </a:spcAft>
        <a:buChar char="»"/>
        <a:tabLst>
          <a:tab pos="114134" algn="l"/>
        </a:tabLst>
        <a:defRPr sz="2000">
          <a:solidFill>
            <a:schemeClr val="tx1"/>
          </a:solidFill>
          <a:latin typeface="+mn-lt"/>
          <a:cs typeface="+mn-cs"/>
        </a:defRPr>
      </a:lvl6pPr>
      <a:lvl7pPr marL="2967485" indent="-228269" algn="l" rtl="0" fontAlgn="base">
        <a:spcBef>
          <a:spcPct val="20000"/>
        </a:spcBef>
        <a:spcAft>
          <a:spcPct val="0"/>
        </a:spcAft>
        <a:buChar char="»"/>
        <a:tabLst>
          <a:tab pos="114134" algn="l"/>
        </a:tabLst>
        <a:defRPr sz="2000">
          <a:solidFill>
            <a:schemeClr val="tx1"/>
          </a:solidFill>
          <a:latin typeface="+mn-lt"/>
          <a:cs typeface="+mn-cs"/>
        </a:defRPr>
      </a:lvl7pPr>
      <a:lvl8pPr marL="3424020" indent="-228269" algn="l" rtl="0" fontAlgn="base">
        <a:spcBef>
          <a:spcPct val="20000"/>
        </a:spcBef>
        <a:spcAft>
          <a:spcPct val="0"/>
        </a:spcAft>
        <a:buChar char="»"/>
        <a:tabLst>
          <a:tab pos="114134" algn="l"/>
        </a:tabLst>
        <a:defRPr sz="2000">
          <a:solidFill>
            <a:schemeClr val="tx1"/>
          </a:solidFill>
          <a:latin typeface="+mn-lt"/>
          <a:cs typeface="+mn-cs"/>
        </a:defRPr>
      </a:lvl8pPr>
      <a:lvl9pPr marL="3880557" indent="-228269" algn="l" rtl="0" fontAlgn="base">
        <a:spcBef>
          <a:spcPct val="20000"/>
        </a:spcBef>
        <a:spcAft>
          <a:spcPct val="0"/>
        </a:spcAft>
        <a:buChar char="»"/>
        <a:tabLst>
          <a:tab pos="114134" algn="l"/>
        </a:tabLst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35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071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610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148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682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217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751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288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8610600" cy="1100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0"/>
            <a:ext cx="7620000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64" tIns="45685" rIns="91364" bIns="4568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371600"/>
            <a:ext cx="8382000" cy="4754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64" tIns="45685" rIns="91364" bIns="4568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52400" y="6473834"/>
            <a:ext cx="685800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64" tIns="45685" rIns="91364" bIns="45685" numCol="1" anchor="t" anchorCtr="0" compatLnSpc="1">
            <a:prstTxWarp prst="textNoShape">
              <a:avLst/>
            </a:prstTxWarp>
          </a:bodyPr>
          <a:lstStyle>
            <a:lvl1pPr algn="l">
              <a:buFontTx/>
              <a:buNone/>
              <a:defRPr sz="1000">
                <a:solidFill>
                  <a:schemeClr val="bg2"/>
                </a:solidFill>
              </a:defRPr>
            </a:lvl1pPr>
          </a:lstStyle>
          <a:p>
            <a:pPr defTabSz="913634">
              <a:defRPr/>
            </a:pPr>
            <a:fld id="{008BD1BD-F4A2-493B-8BA3-1D79115EC300}" type="slidenum">
              <a:rPr lang="en-US" smtClean="0">
                <a:solidFill>
                  <a:srgbClr val="808080"/>
                </a:solidFill>
                <a:latin typeface="Arial"/>
                <a:cs typeface="Arial"/>
              </a:rPr>
              <a:pPr defTabSz="913634">
                <a:defRPr/>
              </a:pPr>
              <a:t>‹#›</a:t>
            </a:fld>
            <a:endParaRPr lang="en-US" dirty="0">
              <a:solidFill>
                <a:srgbClr val="808080"/>
              </a:solidFill>
              <a:latin typeface="Arial"/>
              <a:cs typeface="Arial"/>
            </a:endParaRPr>
          </a:p>
        </p:txBody>
      </p:sp>
      <p:pic>
        <p:nvPicPr>
          <p:cNvPr id="2" name="Picture 6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450" y="6215073"/>
            <a:ext cx="1435100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1636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61" r:id="rId1"/>
    <p:sldLayoutId id="2147485262" r:id="rId2"/>
    <p:sldLayoutId id="2147485263" r:id="rId3"/>
    <p:sldLayoutId id="2147485264" r:id="rId4"/>
    <p:sldLayoutId id="2147485265" r:id="rId5"/>
    <p:sldLayoutId id="2147485266" r:id="rId6"/>
    <p:sldLayoutId id="2147485267" r:id="rId7"/>
    <p:sldLayoutId id="2147485268" r:id="rId8"/>
    <p:sldLayoutId id="2147485269" r:id="rId9"/>
    <p:sldLayoutId id="2147485270" r:id="rId10"/>
    <p:sldLayoutId id="2147485271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5pPr>
      <a:lvl6pPr marL="456817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6pPr>
      <a:lvl7pPr marL="913634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7pPr>
      <a:lvl8pPr marL="1370450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8pPr>
      <a:lvl9pPr marL="1827272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9pPr>
    </p:titleStyle>
    <p:bodyStyle>
      <a:lvl1pPr marL="228409" indent="-228409" algn="l" rtl="0" eaLnBrk="0" fontAlgn="base" hangingPunct="0">
        <a:lnSpc>
          <a:spcPct val="95000"/>
        </a:lnSpc>
        <a:spcBef>
          <a:spcPct val="40000"/>
        </a:spcBef>
        <a:spcAft>
          <a:spcPct val="10000"/>
        </a:spcAft>
        <a:buClr>
          <a:schemeClr val="accent1"/>
        </a:buClr>
        <a:buChar char="•"/>
        <a:tabLst>
          <a:tab pos="114204" algn="l"/>
        </a:tabLst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571022" indent="-228409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lr>
          <a:srgbClr val="B3A79F"/>
        </a:buClr>
        <a:buFont typeface="Arial" charset="0"/>
        <a:buChar char="–"/>
        <a:tabLst>
          <a:tab pos="114204" algn="l"/>
        </a:tabLst>
        <a:defRPr sz="2400">
          <a:solidFill>
            <a:schemeClr val="tx1"/>
          </a:solidFill>
          <a:latin typeface="+mn-lt"/>
          <a:cs typeface="+mn-cs"/>
        </a:defRPr>
      </a:lvl2pPr>
      <a:lvl3pPr marL="856532" indent="-171306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lr>
          <a:srgbClr val="8CC7BA"/>
        </a:buClr>
        <a:buChar char="•"/>
        <a:tabLst>
          <a:tab pos="114204" algn="l"/>
        </a:tabLst>
        <a:defRPr sz="2400">
          <a:solidFill>
            <a:schemeClr val="tx1"/>
          </a:solidFill>
          <a:latin typeface="+mn-lt"/>
          <a:cs typeface="+mn-cs"/>
        </a:defRPr>
      </a:lvl3pPr>
      <a:lvl4pPr marL="1199146" indent="-228409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har char="–"/>
        <a:tabLst>
          <a:tab pos="114204" algn="l"/>
        </a:tabLst>
        <a:defRPr sz="2000">
          <a:solidFill>
            <a:schemeClr val="tx1"/>
          </a:solidFill>
          <a:latin typeface="+mn-lt"/>
          <a:cs typeface="+mn-cs"/>
        </a:defRPr>
      </a:lvl4pPr>
      <a:lvl5pPr marL="2055680" indent="-228409" algn="l" rtl="0" eaLnBrk="0" fontAlgn="base" hangingPunct="0">
        <a:spcBef>
          <a:spcPct val="20000"/>
        </a:spcBef>
        <a:spcAft>
          <a:spcPct val="0"/>
        </a:spcAft>
        <a:buChar char="»"/>
        <a:tabLst>
          <a:tab pos="114204" algn="l"/>
        </a:tabLst>
        <a:defRPr sz="2000">
          <a:solidFill>
            <a:schemeClr val="tx1"/>
          </a:solidFill>
          <a:latin typeface="+mn-lt"/>
          <a:cs typeface="+mn-cs"/>
        </a:defRPr>
      </a:lvl5pPr>
      <a:lvl6pPr marL="2512496" indent="-228409" algn="l" rtl="0" fontAlgn="base">
        <a:spcBef>
          <a:spcPct val="20000"/>
        </a:spcBef>
        <a:spcAft>
          <a:spcPct val="0"/>
        </a:spcAft>
        <a:buChar char="»"/>
        <a:tabLst>
          <a:tab pos="114204" algn="l"/>
        </a:tabLst>
        <a:defRPr sz="2000">
          <a:solidFill>
            <a:schemeClr val="tx1"/>
          </a:solidFill>
          <a:latin typeface="+mn-lt"/>
          <a:cs typeface="+mn-cs"/>
        </a:defRPr>
      </a:lvl6pPr>
      <a:lvl7pPr marL="2969313" indent="-228409" algn="l" rtl="0" fontAlgn="base">
        <a:spcBef>
          <a:spcPct val="20000"/>
        </a:spcBef>
        <a:spcAft>
          <a:spcPct val="0"/>
        </a:spcAft>
        <a:buChar char="»"/>
        <a:tabLst>
          <a:tab pos="114204" algn="l"/>
        </a:tabLst>
        <a:defRPr sz="2000">
          <a:solidFill>
            <a:schemeClr val="tx1"/>
          </a:solidFill>
          <a:latin typeface="+mn-lt"/>
          <a:cs typeface="+mn-cs"/>
        </a:defRPr>
      </a:lvl7pPr>
      <a:lvl8pPr marL="3426129" indent="-228409" algn="l" rtl="0" fontAlgn="base">
        <a:spcBef>
          <a:spcPct val="20000"/>
        </a:spcBef>
        <a:spcAft>
          <a:spcPct val="0"/>
        </a:spcAft>
        <a:buChar char="»"/>
        <a:tabLst>
          <a:tab pos="114204" algn="l"/>
        </a:tabLst>
        <a:defRPr sz="2000">
          <a:solidFill>
            <a:schemeClr val="tx1"/>
          </a:solidFill>
          <a:latin typeface="+mn-lt"/>
          <a:cs typeface="+mn-cs"/>
        </a:defRPr>
      </a:lvl8pPr>
      <a:lvl9pPr marL="3882947" indent="-228409" algn="l" rtl="0" fontAlgn="base">
        <a:spcBef>
          <a:spcPct val="20000"/>
        </a:spcBef>
        <a:spcAft>
          <a:spcPct val="0"/>
        </a:spcAft>
        <a:buChar char="»"/>
        <a:tabLst>
          <a:tab pos="114204" algn="l"/>
        </a:tabLst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17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634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450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272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087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905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722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538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/>
              <a:t>US Market Analytics &amp; Investment Optimization </a:t>
            </a:r>
            <a:br>
              <a:rPr lang="en-US" altLang="en-US" dirty="0"/>
            </a:br>
            <a:r>
              <a:rPr lang="en-US" altLang="en-US" dirty="0"/>
              <a:t>2019 Top Priorities </a:t>
            </a:r>
          </a:p>
        </p:txBody>
      </p:sp>
      <p:sp>
        <p:nvSpPr>
          <p:cNvPr id="583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8600" y="838200"/>
            <a:ext cx="8229600" cy="5681663"/>
          </a:xfrm>
        </p:spPr>
        <p:txBody>
          <a:bodyPr/>
          <a:lstStyle/>
          <a:p>
            <a:pPr marL="0" indent="0" eaLnBrk="1" hangingPunct="1">
              <a:buFont typeface="Wingdings" pitchFamily="2" charset="2"/>
              <a:buNone/>
              <a:defRPr/>
            </a:pPr>
            <a:r>
              <a:rPr lang="en-US" altLang="en-US" sz="1400" u="sng" dirty="0"/>
              <a:t>Innovations to Support Data &amp; Digital Strategy </a:t>
            </a:r>
          </a:p>
          <a:p>
            <a:pPr eaLnBrk="1" hangingPunct="1">
              <a:defRPr/>
            </a:pPr>
            <a:r>
              <a:rPr lang="en-US" altLang="en-US" sz="1400" dirty="0"/>
              <a:t>Expand group to include new Data Strategy &amp; Campaign Analytics functions to optimize engagements and investment choices based on data driven insights</a:t>
            </a:r>
          </a:p>
          <a:p>
            <a:pPr eaLnBrk="1" hangingPunct="1">
              <a:defRPr/>
            </a:pPr>
            <a:r>
              <a:rPr lang="en-US" altLang="en-US" sz="1400" dirty="0"/>
              <a:t>Deploy, Evaluate &amp; Scale Next Best Engagement Capabilities for Januvia &amp; Garda </a:t>
            </a:r>
          </a:p>
          <a:p>
            <a:pPr eaLnBrk="1" hangingPunct="1">
              <a:defRPr/>
            </a:pPr>
            <a:r>
              <a:rPr lang="en-US" altLang="en-US" sz="1400" dirty="0"/>
              <a:t>Continue to evolve analytic capabilities to optimize consumer engagements, e.g. estimate optimal  digital frequencies for key brands </a:t>
            </a:r>
          </a:p>
          <a:p>
            <a:pPr eaLnBrk="1" hangingPunct="1">
              <a:defRPr/>
            </a:pPr>
            <a:r>
              <a:rPr lang="en-US" altLang="en-US" sz="1400" dirty="0"/>
              <a:t>Systematically evaluate newly available data assets and methods to provide improved predictive targeting and  investment insights with particular focus on HCP patient-level insights </a:t>
            </a:r>
          </a:p>
          <a:p>
            <a:pPr eaLnBrk="1" hangingPunct="1">
              <a:defRPr/>
            </a:pPr>
            <a:r>
              <a:rPr lang="en-US" altLang="en-US" sz="1400" dirty="0"/>
              <a:t>Deliver content optimization insights and recommendations for key brands </a:t>
            </a:r>
          </a:p>
          <a:p>
            <a:pPr marL="0" lvl="0" indent="0" eaLnBrk="1" hangingPunct="1">
              <a:buClr>
                <a:srgbClr val="009999"/>
              </a:buClr>
              <a:buNone/>
              <a:defRPr/>
            </a:pPr>
            <a:r>
              <a:rPr lang="en-US" altLang="en-US" sz="1400" u="sng" dirty="0"/>
              <a:t>Evolution of Core Services</a:t>
            </a:r>
          </a:p>
          <a:p>
            <a:pPr eaLnBrk="1" hangingPunct="1">
              <a:buClr>
                <a:srgbClr val="009999"/>
              </a:buClr>
              <a:defRPr/>
            </a:pPr>
            <a:r>
              <a:rPr lang="en-US" altLang="en-US" sz="1400" dirty="0"/>
              <a:t>Further evolve contract optimization insights to inform choices for Vaccine &amp; Oncology </a:t>
            </a:r>
          </a:p>
          <a:p>
            <a:pPr lvl="0" eaLnBrk="1" hangingPunct="1">
              <a:buClr>
                <a:srgbClr val="009999"/>
              </a:buClr>
              <a:defRPr/>
            </a:pPr>
            <a:r>
              <a:rPr lang="en-US" altLang="en-US" sz="1400" dirty="0"/>
              <a:t>Proactively provide insights and recommendations to optimize sales force, promotion and discount /rebate investments to inform 2020 budget and in-year optimization choices </a:t>
            </a:r>
          </a:p>
          <a:p>
            <a:pPr lvl="0" eaLnBrk="1" hangingPunct="1">
              <a:buClr>
                <a:srgbClr val="009999"/>
              </a:buClr>
              <a:defRPr/>
            </a:pPr>
            <a:r>
              <a:rPr lang="en-US" altLang="en-US" sz="1400" dirty="0"/>
              <a:t>Complete a series of robust pilot evaluations to inform major investment choices in new engagement model strategies, tactics and technologies, e.g. NBE </a:t>
            </a:r>
          </a:p>
          <a:p>
            <a:pPr lvl="0" eaLnBrk="1" hangingPunct="1">
              <a:buClr>
                <a:srgbClr val="009999"/>
              </a:buClr>
              <a:defRPr/>
            </a:pPr>
            <a:r>
              <a:rPr lang="en-US" altLang="en-US" sz="1400" dirty="0"/>
              <a:t>Continue to deliver asymmetrical predictive analytic tools to optimize Primary Care, MVD, WHC, Virology &amp; Oncology Deployments (bag structure &amp; promotion effort/SIP)</a:t>
            </a:r>
          </a:p>
          <a:p>
            <a:pPr marL="0" indent="0" eaLnBrk="1" hangingPunct="1">
              <a:buFont typeface="Wingdings" pitchFamily="2" charset="2"/>
              <a:buNone/>
              <a:defRPr/>
            </a:pPr>
            <a:r>
              <a:rPr lang="en-US" altLang="en-US" sz="1600" u="sng" dirty="0"/>
              <a:t>Continue to Develop &amp; Staff Analytics COE</a:t>
            </a:r>
          </a:p>
          <a:p>
            <a:pPr eaLnBrk="1" hangingPunct="1">
              <a:defRPr/>
            </a:pPr>
            <a:r>
              <a:rPr lang="en-US" altLang="en-US" sz="1400" dirty="0"/>
              <a:t>Continue Investment Analytics Internship Program to identify &amp; evaluate early analytic talent </a:t>
            </a:r>
          </a:p>
          <a:p>
            <a:pPr eaLnBrk="1" hangingPunct="1">
              <a:defRPr/>
            </a:pPr>
            <a:r>
              <a:rPr lang="en-US" altLang="en-US" sz="1400" dirty="0"/>
              <a:t>Actively participate in the “Analytics Leadership Consortium” with industry-leading analytic groups to share best practices related to data, analytic methods &amp; tools and staffing </a:t>
            </a:r>
          </a:p>
          <a:p>
            <a:pPr eaLnBrk="1" hangingPunct="1">
              <a:defRPr/>
            </a:pPr>
            <a:r>
              <a:rPr lang="en-US" altLang="en-US" sz="1400" dirty="0"/>
              <a:t>Conduct department-wide team skill development program around Amazon Cloud Capabilities</a:t>
            </a:r>
          </a:p>
        </p:txBody>
      </p:sp>
    </p:spTree>
    <p:extLst>
      <p:ext uri="{BB962C8B-B14F-4D97-AF65-F5344CB8AC3E}">
        <p14:creationId xmlns:p14="http://schemas.microsoft.com/office/powerpoint/2010/main" val="240276297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inued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Compliance</a:t>
            </a:r>
          </a:p>
          <a:p>
            <a:r>
              <a:rPr lang="en-US" sz="1600" dirty="0"/>
              <a:t>   Drive accountability for business process discipline    </a:t>
            </a:r>
          </a:p>
          <a:p>
            <a:r>
              <a:rPr lang="en-US" sz="1600" dirty="0"/>
              <a:t>   Ensure quality and standards are enabled as we transform business processes</a:t>
            </a:r>
          </a:p>
          <a:p>
            <a:r>
              <a:rPr lang="en-US" sz="1600" dirty="0"/>
              <a:t>   All employees complete required training and have a compliance priority for 2019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C1CB57-8D3D-48E6-BA83-5A3B10933D46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020357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bik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62038"/>
            <a:ext cx="8527002" cy="546735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Top Analysis [Impact &amp; Complexity]</a:t>
            </a:r>
          </a:p>
          <a:p>
            <a:r>
              <a:rPr lang="en-US" sz="1600" dirty="0"/>
              <a:t>Optimal reallocation of 2020 promotion spends of about $350MM through IPF and various consulting work.</a:t>
            </a:r>
          </a:p>
          <a:p>
            <a:pPr lvl="1"/>
            <a:r>
              <a:rPr lang="en-US" sz="1200" b="1" dirty="0"/>
              <a:t>Impact:</a:t>
            </a:r>
            <a:r>
              <a:rPr lang="en-US" sz="1200" dirty="0"/>
              <a:t> 2020 promotional budget allocations were heavily and directly influenced by this work.</a:t>
            </a:r>
          </a:p>
          <a:p>
            <a:pPr lvl="1"/>
            <a:r>
              <a:rPr lang="en-US" sz="1200" b="1" dirty="0"/>
              <a:t>Impact: </a:t>
            </a:r>
            <a:r>
              <a:rPr lang="en-US" sz="1200" dirty="0"/>
              <a:t>Through reallocations potential estimated </a:t>
            </a:r>
            <a:r>
              <a:rPr lang="en-US" sz="1200" dirty="0">
                <a:solidFill>
                  <a:srgbClr val="C00000"/>
                </a:solidFill>
              </a:rPr>
              <a:t>incremental revenue and savings are about </a:t>
            </a:r>
            <a:r>
              <a:rPr lang="en-US" sz="1200" b="1" u="sng" dirty="0">
                <a:solidFill>
                  <a:srgbClr val="C00000"/>
                </a:solidFill>
              </a:rPr>
              <a:t>$197MM</a:t>
            </a:r>
          </a:p>
          <a:p>
            <a:pPr lvl="2"/>
            <a:r>
              <a:rPr lang="en-US" sz="1200" dirty="0"/>
              <a:t>Jan ($127MM), </a:t>
            </a:r>
            <a:r>
              <a:rPr lang="en-US" sz="1200" dirty="0" err="1"/>
              <a:t>Nxp</a:t>
            </a:r>
            <a:r>
              <a:rPr lang="en-US" sz="1200" dirty="0"/>
              <a:t> ($17MM), Bel ($6MM), G9 ($38MM), P23 ($9MM), </a:t>
            </a:r>
            <a:r>
              <a:rPr lang="en-US" sz="1200" dirty="0" err="1">
                <a:solidFill>
                  <a:srgbClr val="00B050"/>
                </a:solidFill>
              </a:rPr>
              <a:t>Steglatro</a:t>
            </a:r>
            <a:r>
              <a:rPr lang="en-US" sz="1200" dirty="0">
                <a:solidFill>
                  <a:srgbClr val="00B050"/>
                </a:solidFill>
              </a:rPr>
              <a:t> (New)</a:t>
            </a:r>
          </a:p>
          <a:p>
            <a:pPr lvl="1"/>
            <a:r>
              <a:rPr lang="en-US" sz="1200" b="1" dirty="0"/>
              <a:t>Impact:</a:t>
            </a:r>
            <a:r>
              <a:rPr lang="en-US" sz="1200" dirty="0"/>
              <a:t> </a:t>
            </a:r>
            <a:r>
              <a:rPr lang="en-US" sz="1200" dirty="0">
                <a:solidFill>
                  <a:schemeClr val="tx1"/>
                </a:solidFill>
              </a:rPr>
              <a:t>For the first time, created a budget planning reference book </a:t>
            </a:r>
            <a:r>
              <a:rPr lang="en-US" sz="1200" dirty="0"/>
              <a:t>– Highly appreciated by Katherine and with her encouragement, USML agreed to start the next budget cycle with this presentation from us in their budgeting townhall. </a:t>
            </a:r>
          </a:p>
          <a:p>
            <a:pPr lvl="1"/>
            <a:r>
              <a:rPr lang="en-US" sz="1200" b="1" dirty="0"/>
              <a:t>Complexity:</a:t>
            </a:r>
            <a:r>
              <a:rPr lang="en-US" sz="1200" dirty="0"/>
              <a:t> Three people work handled by one (without any noise about it).</a:t>
            </a:r>
          </a:p>
          <a:p>
            <a:pPr lvl="1"/>
            <a:r>
              <a:rPr lang="en-US" sz="1200" b="1" dirty="0"/>
              <a:t>Complexity:</a:t>
            </a:r>
            <a:r>
              <a:rPr lang="en-US" sz="1200" dirty="0"/>
              <a:t> Too many stakeholders and consultations (from VP/AVPs to promo leads, finance, MAIO, architects </a:t>
            </a:r>
            <a:r>
              <a:rPr lang="en-US" sz="1200" dirty="0" err="1"/>
              <a:t>etc</a:t>
            </a:r>
            <a:r>
              <a:rPr lang="en-US" sz="1200" dirty="0"/>
              <a:t>).</a:t>
            </a:r>
          </a:p>
          <a:p>
            <a:pPr lvl="1"/>
            <a:r>
              <a:rPr lang="en-US" sz="1200" b="1" dirty="0"/>
              <a:t>Complexity:</a:t>
            </a:r>
            <a:r>
              <a:rPr lang="en-US" sz="1200" dirty="0"/>
              <a:t> Very non-deterministic process that needs constant high level thinking and adaptation.</a:t>
            </a:r>
          </a:p>
          <a:p>
            <a:pPr marL="114300" lvl="1" indent="0">
              <a:buNone/>
            </a:pPr>
            <a:endParaRPr lang="en-US" sz="1200" dirty="0"/>
          </a:p>
          <a:p>
            <a:r>
              <a:rPr lang="en-US" sz="1600" dirty="0"/>
              <a:t>NBE Gardasil/Januvia Digital Engagement Plan, G9 Campaign Sequence Analysis, </a:t>
            </a:r>
            <a:r>
              <a:rPr lang="en-US" sz="1600" dirty="0" err="1"/>
              <a:t>Steglatro</a:t>
            </a:r>
            <a:r>
              <a:rPr lang="en-US" sz="1600" dirty="0"/>
              <a:t> ZS AI engine evaluation, daily NBE support. Potential Incr. Revenue </a:t>
            </a:r>
            <a:r>
              <a:rPr lang="en-US" sz="1600" dirty="0">
                <a:solidFill>
                  <a:schemeClr val="tx1"/>
                </a:solidFill>
              </a:rPr>
              <a:t>~$25MM to $65MM.</a:t>
            </a:r>
          </a:p>
          <a:p>
            <a:pPr lvl="1"/>
            <a:r>
              <a:rPr lang="en-US" sz="1200" b="1" dirty="0"/>
              <a:t>Impact:</a:t>
            </a:r>
            <a:r>
              <a:rPr lang="en-US" sz="1200" dirty="0"/>
              <a:t> Developed new optimal digital engagement plan (PRCs not available) for G9 NBE to move forward based on other IPF and optimization related ideas. Supported Januvia DEP development.</a:t>
            </a:r>
          </a:p>
          <a:p>
            <a:pPr lvl="1"/>
            <a:r>
              <a:rPr lang="en-US" sz="1200" b="1" dirty="0"/>
              <a:t>Impact: </a:t>
            </a:r>
            <a:r>
              <a:rPr lang="en-US" sz="1200" i="1" dirty="0"/>
              <a:t>New NPP vendor contracting strategies by ICE team based directly on this work</a:t>
            </a:r>
          </a:p>
          <a:p>
            <a:pPr lvl="1"/>
            <a:r>
              <a:rPr lang="en-US" sz="1200" b="1" dirty="0"/>
              <a:t>Impact:</a:t>
            </a:r>
            <a:r>
              <a:rPr lang="en-US" sz="1200" dirty="0"/>
              <a:t> </a:t>
            </a:r>
            <a:r>
              <a:rPr lang="en-US" sz="1200" i="1" dirty="0"/>
              <a:t>For the first time, mimicked and extended ZS early NBE concepts (couplet / triplet sequences) to G9</a:t>
            </a:r>
            <a:r>
              <a:rPr lang="en-US" sz="1200" dirty="0"/>
              <a:t> and made a business case for ~$25MM upside potential. </a:t>
            </a:r>
          </a:p>
          <a:p>
            <a:pPr lvl="1"/>
            <a:r>
              <a:rPr lang="en-US" sz="1200" b="1" dirty="0"/>
              <a:t>Complexity:</a:t>
            </a:r>
            <a:r>
              <a:rPr lang="en-US" sz="1200" dirty="0"/>
              <a:t> </a:t>
            </a:r>
            <a:r>
              <a:rPr lang="en-US" sz="1200" i="1" dirty="0"/>
              <a:t>DEP and Sequencing work were new. DEP had to be completed with absence of PRCs. Sequencing work positions us for developing future NBE engines internally.</a:t>
            </a:r>
          </a:p>
          <a:p>
            <a:pPr lvl="1"/>
            <a:r>
              <a:rPr lang="en-US" sz="1200" b="1" dirty="0"/>
              <a:t>Complexity:</a:t>
            </a:r>
            <a:r>
              <a:rPr lang="en-US" sz="1200" dirty="0"/>
              <a:t> Identified and resolving issues with ZS AI Image processing and optimization for portfolio NBE.</a:t>
            </a:r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C1CB57-8D3D-48E6-BA83-5A3B10933D46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3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504546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bika (cont’d)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8499" y="854075"/>
            <a:ext cx="8527002" cy="546735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Top Analysis [Impact &amp; Complexity]</a:t>
            </a:r>
          </a:p>
          <a:p>
            <a:r>
              <a:rPr lang="en-US" sz="1600" dirty="0"/>
              <a:t>G9 Wave0 and Wave1 DET Campaign Measurements (New)</a:t>
            </a:r>
          </a:p>
          <a:p>
            <a:pPr lvl="1"/>
            <a:r>
              <a:rPr lang="en-US" sz="1200" b="1" dirty="0"/>
              <a:t>Impact:</a:t>
            </a:r>
            <a:r>
              <a:rPr lang="en-US" sz="1200" dirty="0"/>
              <a:t> Identified appropriate current and future methods to measure relatively low-impact DET campaigns.</a:t>
            </a:r>
          </a:p>
          <a:p>
            <a:pPr lvl="1"/>
            <a:r>
              <a:rPr lang="en-US" sz="1200" b="1" dirty="0"/>
              <a:t>Impact: </a:t>
            </a:r>
            <a:r>
              <a:rPr lang="en-US" sz="1200" dirty="0"/>
              <a:t>Provided early inputs to Katherine, Nikhil and many other DET and brand teams on size of $ impacts. </a:t>
            </a:r>
          </a:p>
          <a:p>
            <a:pPr lvl="1"/>
            <a:r>
              <a:rPr lang="en-US" sz="1200" b="1" dirty="0"/>
              <a:t>Complexity:</a:t>
            </a:r>
            <a:r>
              <a:rPr lang="en-US" sz="1200" dirty="0"/>
              <a:t> </a:t>
            </a:r>
            <a:r>
              <a:rPr lang="en-US" sz="1200" i="1" dirty="0"/>
              <a:t>Thoroughly researched and implemented large body of different methods and chose appropriate measurement method for future DET campaign measurements.</a:t>
            </a:r>
          </a:p>
          <a:p>
            <a:pPr lvl="1"/>
            <a:r>
              <a:rPr lang="en-US" sz="1200" b="1" dirty="0"/>
              <a:t>Complexity:</a:t>
            </a:r>
            <a:r>
              <a:rPr lang="en-US" sz="1200" dirty="0"/>
              <a:t> Shared and managed vendor and trained them to take more such projects in the future.</a:t>
            </a:r>
          </a:p>
          <a:p>
            <a:pPr marL="114300" lvl="1" indent="0">
              <a:buNone/>
            </a:pPr>
            <a:endParaRPr lang="en-US" sz="1200" dirty="0"/>
          </a:p>
          <a:p>
            <a:r>
              <a:rPr lang="en-US" sz="1600" dirty="0"/>
              <a:t>Fortify scenarios and Strategic Initiative Evaluations (Several 10’s of MM?)</a:t>
            </a:r>
            <a:endParaRPr lang="en-US" sz="1600" dirty="0">
              <a:solidFill>
                <a:schemeClr val="tx1"/>
              </a:solidFill>
            </a:endParaRPr>
          </a:p>
          <a:p>
            <a:pPr lvl="1"/>
            <a:r>
              <a:rPr lang="en-US" sz="1200" b="1" dirty="0"/>
              <a:t>Impact:</a:t>
            </a:r>
            <a:r>
              <a:rPr lang="en-US" sz="1200" dirty="0"/>
              <a:t> Helped in evaluating </a:t>
            </a:r>
            <a:r>
              <a:rPr lang="en-US" sz="1200" dirty="0" err="1"/>
              <a:t>Belsomra’s</a:t>
            </a:r>
            <a:r>
              <a:rPr lang="en-US" sz="1200" dirty="0"/>
              <a:t> future directions for Matt and </a:t>
            </a:r>
            <a:r>
              <a:rPr lang="en-US" sz="1200" dirty="0" err="1"/>
              <a:t>Riad</a:t>
            </a:r>
            <a:r>
              <a:rPr lang="en-US" sz="1200" dirty="0"/>
              <a:t>. Helped to informed BD team that Bel could be spun out if a partner offers much more than $500MM. Decision was made to retain it internally.</a:t>
            </a:r>
          </a:p>
          <a:p>
            <a:pPr lvl="1"/>
            <a:r>
              <a:rPr lang="en-US" sz="1200" b="1" dirty="0"/>
              <a:t>Impact: </a:t>
            </a:r>
            <a:r>
              <a:rPr lang="en-US" sz="1200" dirty="0"/>
              <a:t>Did ground work (calculations / scenarios </a:t>
            </a:r>
            <a:r>
              <a:rPr lang="en-US" sz="1200" dirty="0" err="1"/>
              <a:t>etc</a:t>
            </a:r>
            <a:r>
              <a:rPr lang="en-US" sz="1200" dirty="0"/>
              <a:t>) to help Nicolas &amp; Fortify team on sales and promo budget savings.</a:t>
            </a:r>
          </a:p>
          <a:p>
            <a:pPr lvl="2"/>
            <a:r>
              <a:rPr lang="en-US" sz="1200" dirty="0"/>
              <a:t>Januvia, Nexplanon ($5 MM promo investment) </a:t>
            </a:r>
            <a:r>
              <a:rPr lang="en-US" sz="1200" dirty="0" err="1"/>
              <a:t>etc</a:t>
            </a:r>
            <a:endParaRPr lang="en-US" sz="1200" dirty="0"/>
          </a:p>
          <a:p>
            <a:pPr lvl="1"/>
            <a:r>
              <a:rPr lang="en-US" sz="1200" b="1" dirty="0"/>
              <a:t>Complexity:</a:t>
            </a:r>
            <a:r>
              <a:rPr lang="en-US" sz="1200" dirty="0"/>
              <a:t> non-deterministic process that needs high level thinking. Ability to directionally inform choices with lot of missing data.</a:t>
            </a:r>
          </a:p>
          <a:p>
            <a:endParaRPr lang="en-US" sz="1600" dirty="0"/>
          </a:p>
          <a:p>
            <a:r>
              <a:rPr lang="en-US" sz="1600" dirty="0"/>
              <a:t>IPF Optimization tool development (R/</a:t>
            </a:r>
            <a:r>
              <a:rPr lang="en-US" sz="1600" dirty="0" err="1"/>
              <a:t>Rshiny</a:t>
            </a:r>
            <a:r>
              <a:rPr lang="en-US" sz="1600" dirty="0"/>
              <a:t>), Januvia MMM,  and other projects.</a:t>
            </a:r>
            <a:endParaRPr lang="en-US" sz="1600" dirty="0">
              <a:solidFill>
                <a:schemeClr val="tx1"/>
              </a:solidFill>
            </a:endParaRPr>
          </a:p>
          <a:p>
            <a:pPr lvl="1"/>
            <a:r>
              <a:rPr lang="en-US" sz="1200" b="1" dirty="0"/>
              <a:t>Impact / Complexity:</a:t>
            </a:r>
            <a:r>
              <a:rPr lang="en-US" sz="1200" dirty="0"/>
              <a:t> Reduces future IPF execution time and learning curve for other team members thorough automatio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C1CB57-8D3D-48E6-BA83-5A3B10933D46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4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3722704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W grid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C0FFAAE3-5124-4F4D-9ABB-BA2FDDCC228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40596981"/>
              </p:ext>
            </p:extLst>
          </p:nvPr>
        </p:nvGraphicFramePr>
        <p:xfrm>
          <a:off x="457200" y="1062038"/>
          <a:ext cx="8526462" cy="312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8066">
                  <a:extLst>
                    <a:ext uri="{9D8B030D-6E8A-4147-A177-3AD203B41FA5}">
                      <a16:colId xmlns:a16="http://schemas.microsoft.com/office/drawing/2014/main" val="3256550897"/>
                    </a:ext>
                  </a:extLst>
                </a:gridCol>
                <a:gridCol w="1218066">
                  <a:extLst>
                    <a:ext uri="{9D8B030D-6E8A-4147-A177-3AD203B41FA5}">
                      <a16:colId xmlns:a16="http://schemas.microsoft.com/office/drawing/2014/main" val="3866963246"/>
                    </a:ext>
                  </a:extLst>
                </a:gridCol>
                <a:gridCol w="1218066">
                  <a:extLst>
                    <a:ext uri="{9D8B030D-6E8A-4147-A177-3AD203B41FA5}">
                      <a16:colId xmlns:a16="http://schemas.microsoft.com/office/drawing/2014/main" val="2638144082"/>
                    </a:ext>
                  </a:extLst>
                </a:gridCol>
                <a:gridCol w="1218066">
                  <a:extLst>
                    <a:ext uri="{9D8B030D-6E8A-4147-A177-3AD203B41FA5}">
                      <a16:colId xmlns:a16="http://schemas.microsoft.com/office/drawing/2014/main" val="4192064237"/>
                    </a:ext>
                  </a:extLst>
                </a:gridCol>
                <a:gridCol w="1218066">
                  <a:extLst>
                    <a:ext uri="{9D8B030D-6E8A-4147-A177-3AD203B41FA5}">
                      <a16:colId xmlns:a16="http://schemas.microsoft.com/office/drawing/2014/main" val="105558023"/>
                    </a:ext>
                  </a:extLst>
                </a:gridCol>
                <a:gridCol w="1218066">
                  <a:extLst>
                    <a:ext uri="{9D8B030D-6E8A-4147-A177-3AD203B41FA5}">
                      <a16:colId xmlns:a16="http://schemas.microsoft.com/office/drawing/2014/main" val="3440996207"/>
                    </a:ext>
                  </a:extLst>
                </a:gridCol>
                <a:gridCol w="1218066">
                  <a:extLst>
                    <a:ext uri="{9D8B030D-6E8A-4147-A177-3AD203B41FA5}">
                      <a16:colId xmlns:a16="http://schemas.microsoft.com/office/drawing/2014/main" val="69934939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S to 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K to 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W to 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P to 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C to 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Tot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19419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mbik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H[3]</a:t>
                      </a:r>
                    </a:p>
                    <a:p>
                      <a:r>
                        <a:rPr lang="en-US" sz="1200" dirty="0"/>
                        <a:t>IP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H[3]</a:t>
                      </a:r>
                    </a:p>
                    <a:p>
                      <a:r>
                        <a:rPr lang="en-US" sz="1200" dirty="0"/>
                        <a:t>Aggressive urge to learn on various business and technical are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H[3]</a:t>
                      </a:r>
                    </a:p>
                    <a:p>
                      <a:r>
                        <a:rPr lang="en-US" sz="1200" dirty="0"/>
                        <a:t>Grea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H[3]</a:t>
                      </a:r>
                    </a:p>
                    <a:p>
                      <a:r>
                        <a:rPr lang="en-US" sz="1200" dirty="0"/>
                        <a:t>Modeling, other are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H[3]</a:t>
                      </a:r>
                    </a:p>
                    <a:p>
                      <a:r>
                        <a:rPr lang="en-US" sz="1200" dirty="0"/>
                        <a:t>NB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26432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lyth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H[3]</a:t>
                      </a:r>
                    </a:p>
                    <a:p>
                      <a:r>
                        <a:rPr lang="en-US" sz="1200" dirty="0"/>
                        <a:t>All aspects [natural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H[3]</a:t>
                      </a:r>
                    </a:p>
                    <a:p>
                      <a:r>
                        <a:rPr lang="en-US" sz="1200" dirty="0"/>
                        <a:t>Steg, </a:t>
                      </a:r>
                      <a:r>
                        <a:rPr lang="en-US" sz="1200" dirty="0" err="1"/>
                        <a:t>Bridion</a:t>
                      </a:r>
                      <a:r>
                        <a:rPr lang="en-US" sz="1200" dirty="0"/>
                        <a:t> M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H[3]</a:t>
                      </a:r>
                    </a:p>
                    <a:p>
                      <a:r>
                        <a:rPr lang="en-US" sz="1200" dirty="0"/>
                        <a:t>Exception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[2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H[3]</a:t>
                      </a:r>
                    </a:p>
                    <a:p>
                      <a:r>
                        <a:rPr lang="en-US" sz="1200" dirty="0"/>
                        <a:t>Natural &amp; Exception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23887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accent1"/>
                          </a:solidFill>
                        </a:rPr>
                        <a:t>Y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accent1"/>
                          </a:solidFill>
                        </a:rPr>
                        <a:t>H[3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accent1"/>
                          </a:solidFill>
                        </a:rPr>
                        <a:t>M+[2.5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accent1"/>
                          </a:solidFill>
                        </a:rPr>
                        <a:t>M[2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accent1"/>
                          </a:solidFill>
                        </a:rPr>
                        <a:t>M+[2.5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accent1"/>
                          </a:solidFill>
                        </a:rPr>
                        <a:t>M[2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accent1"/>
                          </a:solidFill>
                        </a:rPr>
                        <a:t>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256848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accent1"/>
                          </a:solidFill>
                        </a:rPr>
                        <a:t>Da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accent1"/>
                          </a:solidFill>
                        </a:rPr>
                        <a:t>M[2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accent1"/>
                          </a:solidFill>
                        </a:rPr>
                        <a:t>M+[2.5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accent1"/>
                          </a:solidFill>
                        </a:rPr>
                        <a:t>H[3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accent1"/>
                          </a:solidFill>
                        </a:rPr>
                        <a:t>M[2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accent1"/>
                          </a:solidFill>
                        </a:rPr>
                        <a:t>H[3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accent1"/>
                          </a:solidFill>
                        </a:rPr>
                        <a:t>12.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1693691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C1CB57-8D3D-48E6-BA83-5A3B10933D46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5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2956560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lyth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62038"/>
            <a:ext cx="8527002" cy="546735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Top Analysis [Impact &amp; Complexity]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C1CB57-8D3D-48E6-BA83-5A3B10933D46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6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5334219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a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62038"/>
            <a:ext cx="8527002" cy="546735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Top Analysis [Impact &amp; Complexity]</a:t>
            </a:r>
          </a:p>
          <a:p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C1CB57-8D3D-48E6-BA83-5A3B10933D46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7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067742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RCKTAG" val="MerckDocSensitivityFoot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RCKTAG" val="MerckDocSensitivityFoot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RCKTAG" val="MerckDocSensitivityFoot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RCKTAG" val="MerckDocSensitivityFoot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RCKTAG" val="MerckDocSensitivityFoot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RCKTAG" val="MerckDocSensitivityFooter"/>
</p:tagLst>
</file>

<file path=ppt/theme/theme1.xml><?xml version="1.0" encoding="utf-8"?>
<a:theme xmlns:a="http://schemas.openxmlformats.org/drawingml/2006/main" name="6_Default Design">
  <a:themeElements>
    <a:clrScheme name="Custom 9">
      <a:dk1>
        <a:srgbClr val="37424A"/>
      </a:dk1>
      <a:lt1>
        <a:sysClr val="window" lastClr="FFFFFF"/>
      </a:lt1>
      <a:dk2>
        <a:srgbClr val="37424A"/>
      </a:dk2>
      <a:lt2>
        <a:srgbClr val="F2F2F2"/>
      </a:lt2>
      <a:accent1>
        <a:srgbClr val="66203A"/>
      </a:accent1>
      <a:accent2>
        <a:srgbClr val="7F7F7F"/>
      </a:accent2>
      <a:accent3>
        <a:srgbClr val="53AAA6"/>
      </a:accent3>
      <a:accent4>
        <a:srgbClr val="BFBFBF"/>
      </a:accent4>
      <a:accent5>
        <a:srgbClr val="2F658E"/>
      </a:accent5>
      <a:accent6>
        <a:srgbClr val="F79646"/>
      </a:accent6>
      <a:hlink>
        <a:srgbClr val="2F658E"/>
      </a:hlink>
      <a:folHlink>
        <a:srgbClr val="37424A"/>
      </a:folHlink>
    </a:clrScheme>
    <a:fontScheme name="Default Design">
      <a:majorFont>
        <a:latin typeface="Arial Narrow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  <a:ex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2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77C"/>
      </a:accent1>
      <a:accent2>
        <a:srgbClr val="BDBDBD"/>
      </a:accent2>
      <a:accent3>
        <a:srgbClr val="FFFFFF"/>
      </a:accent3>
      <a:accent4>
        <a:srgbClr val="000000"/>
      </a:accent4>
      <a:accent5>
        <a:srgbClr val="AAC3BF"/>
      </a:accent5>
      <a:accent6>
        <a:srgbClr val="ABABAB"/>
      </a:accent6>
      <a:hlink>
        <a:srgbClr val="8CC7BA"/>
      </a:hlink>
      <a:folHlink>
        <a:srgbClr val="99CC00"/>
      </a:folHlink>
    </a:clrScheme>
    <a:fontScheme name="Custom Design">
      <a:majorFont>
        <a:latin typeface="Arial Narrow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877C"/>
        </a:accent1>
        <a:accent2>
          <a:srgbClr val="BDBDBD"/>
        </a:accent2>
        <a:accent3>
          <a:srgbClr val="FFFFFF"/>
        </a:accent3>
        <a:accent4>
          <a:srgbClr val="000000"/>
        </a:accent4>
        <a:accent5>
          <a:srgbClr val="AAC3BF"/>
        </a:accent5>
        <a:accent6>
          <a:srgbClr val="ABABAB"/>
        </a:accent6>
        <a:hlink>
          <a:srgbClr val="8CC7BA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Merck Template MBA VERSION">
  <a:themeElements>
    <a:clrScheme name="Custom 1">
      <a:dk1>
        <a:srgbClr val="000000"/>
      </a:dk1>
      <a:lt1>
        <a:srgbClr val="FFFFFF"/>
      </a:lt1>
      <a:dk2>
        <a:srgbClr val="37424A"/>
      </a:dk2>
      <a:lt2>
        <a:srgbClr val="BDBDBD"/>
      </a:lt2>
      <a:accent1>
        <a:srgbClr val="00877C"/>
      </a:accent1>
      <a:accent2>
        <a:srgbClr val="8CC7BA"/>
      </a:accent2>
      <a:accent3>
        <a:srgbClr val="D97C1E"/>
      </a:accent3>
      <a:accent4>
        <a:srgbClr val="8F8F3A"/>
      </a:accent4>
      <a:accent5>
        <a:srgbClr val="E8C90F"/>
      </a:accent5>
      <a:accent6>
        <a:srgbClr val="66203A"/>
      </a:accent6>
      <a:hlink>
        <a:srgbClr val="8CC7BA"/>
      </a:hlink>
      <a:folHlink>
        <a:srgbClr val="99CC00"/>
      </a:folHlink>
    </a:clrScheme>
    <a:fontScheme name="Custom Design">
      <a:majorFont>
        <a:latin typeface="Arial Narrow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>
            <a:lumMod val="20000"/>
            <a:lumOff val="80000"/>
          </a:schemeClr>
        </a:solidFill>
        <a:ln>
          <a:noFill/>
        </a:ln>
        <a:effectLst/>
        <a:ex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877C"/>
        </a:accent1>
        <a:accent2>
          <a:srgbClr val="BDBDBD"/>
        </a:accent2>
        <a:accent3>
          <a:srgbClr val="FFFFFF"/>
        </a:accent3>
        <a:accent4>
          <a:srgbClr val="000000"/>
        </a:accent4>
        <a:accent5>
          <a:srgbClr val="AAC3BF"/>
        </a:accent5>
        <a:accent6>
          <a:srgbClr val="ABABAB"/>
        </a:accent6>
        <a:hlink>
          <a:srgbClr val="8CC7BA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7_Default Design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Arial"/>
        <a:ea typeface=""/>
        <a:cs typeface="Arial"/>
      </a:majorFont>
      <a:minorFont>
        <a:latin typeface="Trebuchet MS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6_GHH Strategy IFL_16-9 PPT Template">
  <a:themeElements>
    <a:clrScheme name="Merck Color Theme #1">
      <a:dk1>
        <a:srgbClr val="37424A"/>
      </a:dk1>
      <a:lt1>
        <a:sysClr val="window" lastClr="FFFFFF"/>
      </a:lt1>
      <a:dk2>
        <a:srgbClr val="005E5D"/>
      </a:dk2>
      <a:lt2>
        <a:srgbClr val="BFB8AF"/>
      </a:lt2>
      <a:accent1>
        <a:srgbClr val="00877C"/>
      </a:accent1>
      <a:accent2>
        <a:srgbClr val="6ECEB2"/>
      </a:accent2>
      <a:accent3>
        <a:srgbClr val="66203A"/>
      </a:accent3>
      <a:accent4>
        <a:srgbClr val="F68D2E"/>
      </a:accent4>
      <a:accent5>
        <a:srgbClr val="FBE122"/>
      </a:accent5>
      <a:accent6>
        <a:srgbClr val="BFB8AF"/>
      </a:accent6>
      <a:hlink>
        <a:srgbClr val="37424A"/>
      </a:hlink>
      <a:folHlink>
        <a:srgbClr val="00877C"/>
      </a:folHlink>
    </a:clrScheme>
    <a:fontScheme name="Merck Font Theme #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63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tlCol="0" anchor="ctr"/>
      <a:lstStyle>
        <a:defPPr algn="ctr">
          <a:defRPr kern="600" spc="30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>
          <a:defRPr kern="600" spc="30" dirty="0" err="1" smtClean="0"/>
        </a:defPPr>
      </a:lstStyle>
    </a:txDef>
  </a:objectDefaults>
  <a:extraClrSchemeLst/>
</a:theme>
</file>

<file path=ppt/theme/theme14.xml><?xml version="1.0" encoding="utf-8"?>
<a:theme xmlns:a="http://schemas.openxmlformats.org/drawingml/2006/main" name="8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77C"/>
      </a:accent1>
      <a:accent2>
        <a:srgbClr val="BDBDBD"/>
      </a:accent2>
      <a:accent3>
        <a:srgbClr val="FFFFFF"/>
      </a:accent3>
      <a:accent4>
        <a:srgbClr val="000000"/>
      </a:accent4>
      <a:accent5>
        <a:srgbClr val="AAC3BF"/>
      </a:accent5>
      <a:accent6>
        <a:srgbClr val="ABABAB"/>
      </a:accent6>
      <a:hlink>
        <a:srgbClr val="8CC7BA"/>
      </a:hlink>
      <a:folHlink>
        <a:srgbClr val="99CC00"/>
      </a:folHlink>
    </a:clrScheme>
    <a:fontScheme name="Custom Design">
      <a:majorFont>
        <a:latin typeface="Arial Narrow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877C"/>
        </a:accent1>
        <a:accent2>
          <a:srgbClr val="BDBDBD"/>
        </a:accent2>
        <a:accent3>
          <a:srgbClr val="FFFFFF"/>
        </a:accent3>
        <a:accent4>
          <a:srgbClr val="000000"/>
        </a:accent4>
        <a:accent5>
          <a:srgbClr val="AAC3BF"/>
        </a:accent5>
        <a:accent6>
          <a:srgbClr val="ABABAB"/>
        </a:accent6>
        <a:hlink>
          <a:srgbClr val="8CC7BA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9_Custom Design">
  <a:themeElements>
    <a:clrScheme name="3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3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Custom Design">
  <a:themeElements>
    <a:clrScheme name="3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3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Default Design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Arial"/>
        <a:ea typeface=""/>
        <a:cs typeface="Arial"/>
      </a:majorFont>
      <a:minorFont>
        <a:latin typeface="Trebuchet MS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_Custom Design">
  <a:themeElements>
    <a:clrScheme name="3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3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5_Custom Design">
  <a:themeElements>
    <a:clrScheme name="3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3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6_Custom Design">
  <a:themeElements>
    <a:clrScheme name="3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3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7_Custom Design">
  <a:themeElements>
    <a:clrScheme name="3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3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77C"/>
      </a:accent1>
      <a:accent2>
        <a:srgbClr val="BDBDBD"/>
      </a:accent2>
      <a:accent3>
        <a:srgbClr val="FFFFFF"/>
      </a:accent3>
      <a:accent4>
        <a:srgbClr val="000000"/>
      </a:accent4>
      <a:accent5>
        <a:srgbClr val="AAC3BF"/>
      </a:accent5>
      <a:accent6>
        <a:srgbClr val="ABABAB"/>
      </a:accent6>
      <a:hlink>
        <a:srgbClr val="8CC7BA"/>
      </a:hlink>
      <a:folHlink>
        <a:srgbClr val="99CC00"/>
      </a:folHlink>
    </a:clrScheme>
    <a:fontScheme name="Custom Design">
      <a:majorFont>
        <a:latin typeface="Arial Narrow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877C"/>
        </a:accent1>
        <a:accent2>
          <a:srgbClr val="BDBDBD"/>
        </a:accent2>
        <a:accent3>
          <a:srgbClr val="FFFFFF"/>
        </a:accent3>
        <a:accent4>
          <a:srgbClr val="000000"/>
        </a:accent4>
        <a:accent5>
          <a:srgbClr val="AAC3BF"/>
        </a:accent5>
        <a:accent6>
          <a:srgbClr val="ABABAB"/>
        </a:accent6>
        <a:hlink>
          <a:srgbClr val="8CC7BA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77C"/>
      </a:accent1>
      <a:accent2>
        <a:srgbClr val="BDBDBD"/>
      </a:accent2>
      <a:accent3>
        <a:srgbClr val="FFFFFF"/>
      </a:accent3>
      <a:accent4>
        <a:srgbClr val="000000"/>
      </a:accent4>
      <a:accent5>
        <a:srgbClr val="AAC3BF"/>
      </a:accent5>
      <a:accent6>
        <a:srgbClr val="ABABAB"/>
      </a:accent6>
      <a:hlink>
        <a:srgbClr val="8CC7BA"/>
      </a:hlink>
      <a:folHlink>
        <a:srgbClr val="99CC00"/>
      </a:folHlink>
    </a:clrScheme>
    <a:fontScheme name="Custom Design">
      <a:majorFont>
        <a:latin typeface="Arial Narrow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877C"/>
        </a:accent1>
        <a:accent2>
          <a:srgbClr val="BDBDBD"/>
        </a:accent2>
        <a:accent3>
          <a:srgbClr val="FFFFFF"/>
        </a:accent3>
        <a:accent4>
          <a:srgbClr val="000000"/>
        </a:accent4>
        <a:accent5>
          <a:srgbClr val="AAC3BF"/>
        </a:accent5>
        <a:accent6>
          <a:srgbClr val="ABABAB"/>
        </a:accent6>
        <a:hlink>
          <a:srgbClr val="8CC7BA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sisl xmlns:xsi="http://www.w3.org/2001/XMLSchema-instance" xmlns:xsd="http://www.w3.org/2001/XMLSchema" xmlns="http://www.boldonjames.com/2008/01/sie/internal/label" sislVersion="0" policy="a10f9ac0-5937-4b4f-b459-96aedd9ed2c5" origin="userSelected">
  <element uid="id_classification_euconfidential" value=""/>
  <element uid="cefbaa69-3bfa-4b56-8d22-6839cb7b06d0" value=""/>
</sisl>
</file>

<file path=customXml/itemProps1.xml><?xml version="1.0" encoding="utf-8"?>
<ds:datastoreItem xmlns:ds="http://schemas.openxmlformats.org/officeDocument/2006/customXml" ds:itemID="{D1322618-521B-4404-804D-B92DF109536A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513</TotalTime>
  <Words>1026</Words>
  <Application>Microsoft Office PowerPoint</Application>
  <PresentationFormat>On-screen Show (4:3)</PresentationFormat>
  <Paragraphs>115</Paragraphs>
  <Slides>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5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7</vt:i4>
      </vt:variant>
    </vt:vector>
  </HeadingPairs>
  <TitlesOfParts>
    <vt:vector size="32" baseType="lpstr">
      <vt:lpstr>Arial</vt:lpstr>
      <vt:lpstr>Arial Narrow</vt:lpstr>
      <vt:lpstr>Calibri</vt:lpstr>
      <vt:lpstr>Lucida Grande</vt:lpstr>
      <vt:lpstr>Times New Roman</vt:lpstr>
      <vt:lpstr>Trebuchet MS</vt:lpstr>
      <vt:lpstr>Wingdings</vt:lpstr>
      <vt:lpstr>6_Default Design</vt:lpstr>
      <vt:lpstr>3_Custom Design</vt:lpstr>
      <vt:lpstr>1_Default Design</vt:lpstr>
      <vt:lpstr>4_Custom Design</vt:lpstr>
      <vt:lpstr>5_Custom Design</vt:lpstr>
      <vt:lpstr>6_Custom Design</vt:lpstr>
      <vt:lpstr>7_Custom Design</vt:lpstr>
      <vt:lpstr>Custom Design</vt:lpstr>
      <vt:lpstr>1_Custom Design</vt:lpstr>
      <vt:lpstr>2_Custom Design</vt:lpstr>
      <vt:lpstr>Merck Template MBA VERSION</vt:lpstr>
      <vt:lpstr>7_Default Design</vt:lpstr>
      <vt:lpstr>6_GHH Strategy IFL_16-9 PPT Template</vt:lpstr>
      <vt:lpstr>8_Custom Design</vt:lpstr>
      <vt:lpstr>9_Custom Design</vt:lpstr>
      <vt:lpstr>think-cell Slide</vt:lpstr>
      <vt:lpstr>Picture</vt:lpstr>
      <vt:lpstr>Image</vt:lpstr>
      <vt:lpstr>US Market Analytics &amp; Investment Optimization  2019 Top Priorities </vt:lpstr>
      <vt:lpstr>Continued </vt:lpstr>
      <vt:lpstr>Ambika</vt:lpstr>
      <vt:lpstr>Ambika (cont’d) </vt:lpstr>
      <vt:lpstr>WoW grid</vt:lpstr>
      <vt:lpstr>Blythe</vt:lpstr>
      <vt:lpstr>Yan</vt:lpstr>
    </vt:vector>
  </TitlesOfParts>
  <Company>Merck &amp; Co.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rck_No_Image PPT Template</dc:title>
  <dc:creator>http://www.merckbranding.com</dc:creator>
  <cp:lastModifiedBy>Murugan, Senthil</cp:lastModifiedBy>
  <cp:revision>415</cp:revision>
  <cp:lastPrinted>2018-10-25T13:23:44Z</cp:lastPrinted>
  <dcterms:created xsi:type="dcterms:W3CDTF">2009-09-22T14:01:11Z</dcterms:created>
  <dcterms:modified xsi:type="dcterms:W3CDTF">2019-12-04T18:08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73a9a7b9-2b64-40fd-be64-e821f77ed1bd</vt:lpwstr>
  </property>
  <property fmtid="{D5CDD505-2E9C-101B-9397-08002B2CF9AE}" pid="3" name="bjSaver">
    <vt:lpwstr>Oh5c6E8ULhvu0B2i2GdwussaDlV3//4W</vt:lpwstr>
  </property>
  <property fmtid="{D5CDD505-2E9C-101B-9397-08002B2CF9AE}" pid="4" name="bjDocumentSecurityLabel">
    <vt:lpwstr>Proprietary</vt:lpwstr>
  </property>
  <property fmtid="{D5CDD505-2E9C-101B-9397-08002B2CF9AE}" pid="5" name="MerckMetadataExchange">
    <vt:lpwstr>!$MRK@Proprietary-Footer-Left</vt:lpwstr>
  </property>
  <property fmtid="{D5CDD505-2E9C-101B-9397-08002B2CF9AE}" pid="6" name="_AdHocReviewCycleID">
    <vt:i4>1774219868</vt:i4>
  </property>
  <property fmtid="{D5CDD505-2E9C-101B-9397-08002B2CF9AE}" pid="7" name="_NewReviewCycle">
    <vt:lpwstr/>
  </property>
  <property fmtid="{D5CDD505-2E9C-101B-9397-08002B2CF9AE}" pid="8" name="_EmailSubject">
    <vt:lpwstr>IA&amp;DS Capabilities Deck </vt:lpwstr>
  </property>
  <property fmtid="{D5CDD505-2E9C-101B-9397-08002B2CF9AE}" pid="9" name="_AuthorEmail">
    <vt:lpwstr>patrick_moore@merck.com</vt:lpwstr>
  </property>
  <property fmtid="{D5CDD505-2E9C-101B-9397-08002B2CF9AE}" pid="10" name="_AuthorEmailDisplayName">
    <vt:lpwstr>Moore, Patrick C</vt:lpwstr>
  </property>
  <property fmtid="{D5CDD505-2E9C-101B-9397-08002B2CF9AE}" pid="11" name="bjDocumentLabelXML">
    <vt:lpwstr>&lt;?xml version="1.0" encoding="us-ascii"?&gt;&lt;sisl xmlns:xsi="http://www.w3.org/2001/XMLSchema-instance" xmlns:xsd="http://www.w3.org/2001/XMLSchema" sislVersion="0" policy="a10f9ac0-5937-4b4f-b459-96aedd9ed2c5" origin="userSelected" xmlns="http://www.boldonj</vt:lpwstr>
  </property>
  <property fmtid="{D5CDD505-2E9C-101B-9397-08002B2CF9AE}" pid="12" name="bjDocumentLabelXML-0">
    <vt:lpwstr>ames.com/2008/01/sie/internal/label"&gt;&lt;element uid="id_classification_euconfidential" value="" /&gt;&lt;element uid="cefbaa69-3bfa-4b56-8d22-6839cb7b06d0" value="" /&gt;&lt;/sisl&gt;</vt:lpwstr>
  </property>
</Properties>
</file>